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1.xml" ContentType="application/vnd.openxmlformats-officedocument.presentationml.notesSlide+xml"/>
  <Override PartName="/ppt/charts/chart28.xml" ContentType="application/vnd.openxmlformats-officedocument.drawingml.chart+xml"/>
  <Override PartName="/ppt/notesSlides/notesSlide2.xml" ContentType="application/vnd.openxmlformats-officedocument.presentationml.notesSlide+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xml" ContentType="application/vnd.openxmlformats-officedocument.presentationml.notesSlide+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4.xml" ContentType="application/vnd.openxmlformats-officedocument.presentationml.notesSlid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5.xml" ContentType="application/vnd.openxmlformats-officedocument.presentationml.notesSlid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3.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drawings/drawing1.xml" ContentType="application/vnd.openxmlformats-officedocument.drawingml.chartshape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rts/chart38.xml" ContentType="application/vnd.openxmlformats-officedocument.drawingml.chart+xml"/>
  <Override PartName="/ppt/charts/style37.xml" ContentType="application/vnd.ms-office.chartstyle+xml"/>
  <Override PartName="/ppt/charts/colors3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4"/>
  </p:notesMasterIdLst>
  <p:sldIdLst>
    <p:sldId id="1251" r:id="rId2"/>
    <p:sldId id="1603" r:id="rId3"/>
    <p:sldId id="1604" r:id="rId4"/>
    <p:sldId id="1556" r:id="rId5"/>
    <p:sldId id="1252" r:id="rId6"/>
    <p:sldId id="1415" r:id="rId7"/>
    <p:sldId id="1971" r:id="rId8"/>
    <p:sldId id="1493" r:id="rId9"/>
    <p:sldId id="1494" r:id="rId10"/>
    <p:sldId id="1495" r:id="rId11"/>
    <p:sldId id="1496" r:id="rId12"/>
    <p:sldId id="1497" r:id="rId13"/>
    <p:sldId id="1530" r:id="rId14"/>
    <p:sldId id="1543" r:id="rId15"/>
    <p:sldId id="1564" r:id="rId16"/>
    <p:sldId id="1944" r:id="rId17"/>
    <p:sldId id="1419" r:id="rId18"/>
    <p:sldId id="1258" r:id="rId19"/>
    <p:sldId id="1536" r:id="rId20"/>
    <p:sldId id="1805" r:id="rId21"/>
    <p:sldId id="2117" r:id="rId22"/>
    <p:sldId id="2118" r:id="rId23"/>
    <p:sldId id="1946" r:id="rId24"/>
    <p:sldId id="1548" r:id="rId25"/>
    <p:sldId id="1559" r:id="rId26"/>
    <p:sldId id="1414" r:id="rId27"/>
    <p:sldId id="1574" r:id="rId28"/>
    <p:sldId id="1593" r:id="rId29"/>
    <p:sldId id="1594" r:id="rId30"/>
    <p:sldId id="1261" r:id="rId31"/>
    <p:sldId id="1423" r:id="rId32"/>
    <p:sldId id="1647" r:id="rId33"/>
    <p:sldId id="1605" r:id="rId34"/>
    <p:sldId id="1262" r:id="rId35"/>
    <p:sldId id="1595" r:id="rId36"/>
    <p:sldId id="1264" r:id="rId37"/>
    <p:sldId id="1810" r:id="rId38"/>
    <p:sldId id="1478" r:id="rId39"/>
    <p:sldId id="1479" r:id="rId40"/>
    <p:sldId id="1480" r:id="rId41"/>
    <p:sldId id="1703" r:id="rId42"/>
    <p:sldId id="1704" r:id="rId43"/>
    <p:sldId id="1484" r:id="rId44"/>
    <p:sldId id="2119" r:id="rId45"/>
    <p:sldId id="2120" r:id="rId46"/>
    <p:sldId id="1976" r:id="rId47"/>
    <p:sldId id="1424" r:id="rId48"/>
    <p:sldId id="2098" r:id="rId49"/>
    <p:sldId id="2122" r:id="rId50"/>
    <p:sldId id="1621" r:id="rId51"/>
    <p:sldId id="1622" r:id="rId52"/>
    <p:sldId id="1623" r:id="rId53"/>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žík Jan RNDr. Ph.D." initials="MJRP" lastIdx="1" clrIdx="0">
    <p:extLst>
      <p:ext uri="{19B8F6BF-5375-455C-9EA6-DF929625EA0E}">
        <p15:presenceInfo xmlns:p15="http://schemas.microsoft.com/office/powerpoint/2012/main" userId="Mužík Jan RNDr. Ph.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0000FF"/>
    <a:srgbClr val="E7E7E7"/>
    <a:srgbClr val="F26289"/>
    <a:srgbClr val="00B0F0"/>
    <a:srgbClr val="BFBFBF"/>
    <a:srgbClr val="A6A6A6"/>
    <a:srgbClr val="7F7F7F"/>
    <a:srgbClr val="8053F0"/>
    <a:srgbClr val="300C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Světlý sty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Světlý styl 3 – zvýraznění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6400" autoAdjust="0"/>
  </p:normalViewPr>
  <p:slideViewPr>
    <p:cSldViewPr snapToGrid="0">
      <p:cViewPr varScale="1">
        <p:scale>
          <a:sx n="107" d="100"/>
          <a:sy n="107" d="100"/>
        </p:scale>
        <p:origin x="198" y="114"/>
      </p:cViewPr>
      <p:guideLst>
        <p:guide orient="horz" pos="1230"/>
        <p:guide pos="3840"/>
      </p:guideLst>
    </p:cSldViewPr>
  </p:slideViewPr>
  <p:notesTextViewPr>
    <p:cViewPr>
      <p:scale>
        <a:sx n="3" d="2"/>
        <a:sy n="3" d="2"/>
      </p:scale>
      <p:origin x="0" y="0"/>
    </p:cViewPr>
  </p:notesTextViewPr>
  <p:sorterViewPr>
    <p:cViewPr>
      <p:scale>
        <a:sx n="75" d="100"/>
        <a:sy n="75" d="100"/>
      </p:scale>
      <p:origin x="0" y="-338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List_aplikace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List_aplikace_Microsoft_Excel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List_aplikace_Microsoft_Excel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List_aplikace_Microsoft_Excel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List_aplikace_Microsoft_Excel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List_aplikace_Microsoft_Excel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List_aplikace_Microsoft_Excel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List_aplikace_Microsoft_Excel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List_aplikace_Microsoft_Excel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List_aplikace_Microsoft_Excel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List_aplikace_Microsoft_Excel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List_aplikace_Microsoft_Excel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List_aplikace_Microsoft_Excel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List_aplikace_Microsoft_Excel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List_aplikace_Microsoft_Excel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List_aplikace_Microsoft_Excel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List_aplikace_Microsoft_Excel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List_aplikace_Microsoft_Excel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1" Type="http://schemas.openxmlformats.org/officeDocument/2006/relationships/package" Target="../embeddings/List_aplikace_Microsoft_Excel27.xlsx"/></Relationships>
</file>

<file path=ppt/charts/_rels/chart29.xml.rels><?xml version="1.0" encoding="UTF-8" standalone="yes"?>
<Relationships xmlns="http://schemas.openxmlformats.org/package/2006/relationships"><Relationship Id="rId3" Type="http://schemas.openxmlformats.org/officeDocument/2006/relationships/package" Target="../embeddings/List_aplikace_Microsoft_Excel28.xlsx"/><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List_aplikace_Microsoft_Excel29.xlsx"/><Relationship Id="rId2" Type="http://schemas.microsoft.com/office/2011/relationships/chartColorStyle" Target="colors29.xml"/><Relationship Id="rId1" Type="http://schemas.microsoft.com/office/2011/relationships/chartStyle" Target="style29.xml"/></Relationships>
</file>

<file path=ppt/charts/_rels/chart31.xml.rels><?xml version="1.0" encoding="UTF-8" standalone="yes"?>
<Relationships xmlns="http://schemas.openxmlformats.org/package/2006/relationships"><Relationship Id="rId3" Type="http://schemas.openxmlformats.org/officeDocument/2006/relationships/package" Target="../embeddings/List_aplikace_Microsoft_Excel30.xlsx"/><Relationship Id="rId2" Type="http://schemas.microsoft.com/office/2011/relationships/chartColorStyle" Target="colors30.xml"/><Relationship Id="rId1" Type="http://schemas.microsoft.com/office/2011/relationships/chartStyle" Target="style30.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List_aplikace_Microsoft_Excel31.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package" Target="../embeddings/List_aplikace_Microsoft_Excel32.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package" Target="../embeddings/List_aplikace_Microsoft_Excel33.xlsx"/></Relationships>
</file>

<file path=ppt/charts/_rels/chart35.xml.rels><?xml version="1.0" encoding="UTF-8" standalone="yes"?>
<Relationships xmlns="http://schemas.openxmlformats.org/package/2006/relationships"><Relationship Id="rId3" Type="http://schemas.openxmlformats.org/officeDocument/2006/relationships/package" Target="../embeddings/List_aplikace_Microsoft_Excel34.xlsx"/><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chartUserShapes" Target="../drawings/drawing1.xml"/></Relationships>
</file>

<file path=ppt/charts/_rels/chart36.xml.rels><?xml version="1.0" encoding="UTF-8" standalone="yes"?>
<Relationships xmlns="http://schemas.openxmlformats.org/package/2006/relationships"><Relationship Id="rId3" Type="http://schemas.openxmlformats.org/officeDocument/2006/relationships/package" Target="../embeddings/List_aplikace_Microsoft_Excel35.xlsx"/><Relationship Id="rId2" Type="http://schemas.microsoft.com/office/2011/relationships/chartColorStyle" Target="colors35.xml"/><Relationship Id="rId1" Type="http://schemas.microsoft.com/office/2011/relationships/chartStyle" Target="style35.xml"/></Relationships>
</file>

<file path=ppt/charts/_rels/chart37.xml.rels><?xml version="1.0" encoding="UTF-8" standalone="yes"?>
<Relationships xmlns="http://schemas.openxmlformats.org/package/2006/relationships"><Relationship Id="rId3" Type="http://schemas.openxmlformats.org/officeDocument/2006/relationships/package" Target="../embeddings/List_aplikace_Microsoft_Excel36.xlsx"/><Relationship Id="rId2" Type="http://schemas.microsoft.com/office/2011/relationships/chartColorStyle" Target="colors36.xml"/><Relationship Id="rId1" Type="http://schemas.microsoft.com/office/2011/relationships/chartStyle" Target="style36.xml"/></Relationships>
</file>

<file path=ppt/charts/_rels/chart38.xml.rels><?xml version="1.0" encoding="UTF-8" standalone="yes"?>
<Relationships xmlns="http://schemas.openxmlformats.org/package/2006/relationships"><Relationship Id="rId3" Type="http://schemas.openxmlformats.org/officeDocument/2006/relationships/package" Target="../embeddings/List_aplikace_Microsoft_Excel37.xlsx"/><Relationship Id="rId2" Type="http://schemas.microsoft.com/office/2011/relationships/chartColorStyle" Target="colors37.xml"/><Relationship Id="rId1" Type="http://schemas.microsoft.com/office/2011/relationships/chartStyle" Target="style37.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List_aplikace_Microsoft_Excel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List_aplikace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List_aplikace_Microsoft_Excel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List_aplikace_Microsoft_Excel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Školské zařízení</c:v>
                </c:pt>
                <c:pt idx="3">
                  <c:v>Výrobní závod</c:v>
                </c:pt>
                <c:pt idx="4">
                  <c:v>Věznice</c:v>
                </c:pt>
                <c:pt idx="5">
                  <c:v>Hornictví</c:v>
                </c:pt>
                <c:pt idx="6">
                  <c:v>Pracoviště</c:v>
                </c:pt>
                <c:pt idx="7">
                  <c:v>Sportovní</c:v>
                </c:pt>
                <c:pt idx="8">
                  <c:v>Dětské domovy</c:v>
                </c:pt>
                <c:pt idx="9">
                  <c:v>Ubytovací</c:v>
                </c:pt>
                <c:pt idx="10">
                  <c:v>Společenská akce / klub</c:v>
                </c:pt>
                <c:pt idx="11">
                  <c:v>Kancelář, úřad</c:v>
                </c:pt>
                <c:pt idx="12">
                  <c:v>Divadlo</c:v>
                </c:pt>
                <c:pt idx="13">
                  <c:v>Zájmové aktivity</c:v>
                </c:pt>
                <c:pt idx="14">
                  <c:v>Svatba / pohřeb</c:v>
                </c:pt>
                <c:pt idx="15">
                  <c:v>Setkání známých / příbuzných</c:v>
                </c:pt>
                <c:pt idx="16">
                  <c:v>HZS</c:v>
                </c:pt>
                <c:pt idx="17">
                  <c:v>Prodejna, obchod</c:v>
                </c:pt>
                <c:pt idx="18">
                  <c:v>Policie</c:v>
                </c:pt>
                <c:pt idx="19">
                  <c:v>Rodinný výskyt</c:v>
                </c:pt>
                <c:pt idx="20">
                  <c:v>Církev</c:v>
                </c:pt>
                <c:pt idx="21">
                  <c:v>Dětský tábor</c:v>
                </c:pt>
                <c:pt idx="22">
                  <c:v>Stravovací</c:v>
                </c:pt>
                <c:pt idx="23">
                  <c:v>Školení</c:v>
                </c:pt>
                <c:pt idx="24">
                  <c:v>Ostatní</c:v>
                </c:pt>
                <c:pt idx="25">
                  <c:v>Netýká se žádného zařízení</c:v>
                </c:pt>
              </c:strCache>
            </c:strRef>
          </c:cat>
          <c:val>
            <c:numRef>
              <c:f>List1!$B$2:$B$27</c:f>
              <c:numCache>
                <c:formatCode>General</c:formatCode>
                <c:ptCount val="26"/>
                <c:pt idx="0">
                  <c:v>30685</c:v>
                </c:pt>
                <c:pt idx="1">
                  <c:v>16817</c:v>
                </c:pt>
                <c:pt idx="2">
                  <c:v>12250</c:v>
                </c:pt>
                <c:pt idx="3">
                  <c:v>7493</c:v>
                </c:pt>
                <c:pt idx="4">
                  <c:v>4732</c:v>
                </c:pt>
                <c:pt idx="5">
                  <c:v>2979</c:v>
                </c:pt>
                <c:pt idx="6">
                  <c:v>2649</c:v>
                </c:pt>
                <c:pt idx="7">
                  <c:v>1429</c:v>
                </c:pt>
                <c:pt idx="8">
                  <c:v>1210</c:v>
                </c:pt>
                <c:pt idx="9">
                  <c:v>1060</c:v>
                </c:pt>
                <c:pt idx="10">
                  <c:v>703</c:v>
                </c:pt>
                <c:pt idx="11">
                  <c:v>550</c:v>
                </c:pt>
                <c:pt idx="12">
                  <c:v>388</c:v>
                </c:pt>
                <c:pt idx="13">
                  <c:v>364</c:v>
                </c:pt>
                <c:pt idx="14">
                  <c:v>325</c:v>
                </c:pt>
                <c:pt idx="15">
                  <c:v>312</c:v>
                </c:pt>
                <c:pt idx="16">
                  <c:v>308</c:v>
                </c:pt>
                <c:pt idx="17">
                  <c:v>242</c:v>
                </c:pt>
                <c:pt idx="18">
                  <c:v>172</c:v>
                </c:pt>
                <c:pt idx="19">
                  <c:v>109</c:v>
                </c:pt>
                <c:pt idx="20">
                  <c:v>92</c:v>
                </c:pt>
                <c:pt idx="21">
                  <c:v>86</c:v>
                </c:pt>
                <c:pt idx="22">
                  <c:v>56</c:v>
                </c:pt>
                <c:pt idx="23">
                  <c:v>47</c:v>
                </c:pt>
                <c:pt idx="24">
                  <c:v>348</c:v>
                </c:pt>
                <c:pt idx="25">
                  <c:v>68</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rgbClr val="C00000"/>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Zdravotnické zařízení</c:v>
                </c:pt>
                <c:pt idx="3">
                  <c:v>Dětské domovy</c:v>
                </c:pt>
                <c:pt idx="4">
                  <c:v>Výrobní závod</c:v>
                </c:pt>
                <c:pt idx="5">
                  <c:v>Pracoviště</c:v>
                </c:pt>
                <c:pt idx="6">
                  <c:v>HZS</c:v>
                </c:pt>
                <c:pt idx="7">
                  <c:v>Kancelář, úřad</c:v>
                </c:pt>
                <c:pt idx="8">
                  <c:v>Prodejna, obchod</c:v>
                </c:pt>
                <c:pt idx="9">
                  <c:v>Sportovní</c:v>
                </c:pt>
                <c:pt idx="10">
                  <c:v>Věznice</c:v>
                </c:pt>
                <c:pt idx="11">
                  <c:v>Církev</c:v>
                </c:pt>
                <c:pt idx="12">
                  <c:v>Dětský tábor</c:v>
                </c:pt>
                <c:pt idx="13">
                  <c:v>Divadlo</c:v>
                </c:pt>
                <c:pt idx="14">
                  <c:v>Hornictví</c:v>
                </c:pt>
                <c:pt idx="15">
                  <c:v>Policie</c:v>
                </c:pt>
                <c:pt idx="16">
                  <c:v>Rodinný výskyt</c:v>
                </c:pt>
                <c:pt idx="17">
                  <c:v>Setkání známých / příbuzných</c:v>
                </c:pt>
                <c:pt idx="18">
                  <c:v>Společenská akce / klub</c:v>
                </c:pt>
                <c:pt idx="19">
                  <c:v>Stravovací</c:v>
                </c:pt>
                <c:pt idx="20">
                  <c:v>Svatba / pohřeb</c:v>
                </c:pt>
                <c:pt idx="21">
                  <c:v>Školení</c:v>
                </c:pt>
                <c:pt idx="22">
                  <c:v>Ubytovací</c:v>
                </c:pt>
                <c:pt idx="23">
                  <c:v>Zájmové aktivity</c:v>
                </c:pt>
                <c:pt idx="24">
                  <c:v>Ostatní</c:v>
                </c:pt>
                <c:pt idx="25">
                  <c:v>Netýká se žádného zařízení</c:v>
                </c:pt>
              </c:strCache>
            </c:strRef>
          </c:cat>
          <c:val>
            <c:numRef>
              <c:f>List1!$B$2:$B$27</c:f>
              <c:numCache>
                <c:formatCode>General</c:formatCode>
                <c:ptCount val="26"/>
                <c:pt idx="0">
                  <c:v>48</c:v>
                </c:pt>
                <c:pt idx="1">
                  <c:v>37</c:v>
                </c:pt>
                <c:pt idx="2">
                  <c:v>14</c:v>
                </c:pt>
                <c:pt idx="3">
                  <c:v>7</c:v>
                </c:pt>
                <c:pt idx="4">
                  <c:v>5</c:v>
                </c:pt>
                <c:pt idx="5">
                  <c:v>2</c:v>
                </c:pt>
                <c:pt idx="6">
                  <c:v>1</c:v>
                </c:pt>
                <c:pt idx="7">
                  <c:v>1</c:v>
                </c:pt>
                <c:pt idx="8">
                  <c:v>1</c:v>
                </c:pt>
                <c:pt idx="9">
                  <c:v>1</c:v>
                </c:pt>
                <c:pt idx="10">
                  <c:v>1</c:v>
                </c:pt>
                <c:pt idx="11">
                  <c:v>0</c:v>
                </c:pt>
                <c:pt idx="12">
                  <c:v>0</c:v>
                </c:pt>
                <c:pt idx="13">
                  <c:v>0</c:v>
                </c:pt>
                <c:pt idx="14">
                  <c:v>0</c:v>
                </c:pt>
                <c:pt idx="15">
                  <c:v>0</c:v>
                </c:pt>
                <c:pt idx="16">
                  <c:v>0</c:v>
                </c:pt>
                <c:pt idx="17">
                  <c:v>0</c:v>
                </c:pt>
                <c:pt idx="18">
                  <c:v>0</c:v>
                </c:pt>
                <c:pt idx="19">
                  <c:v>0</c:v>
                </c:pt>
                <c:pt idx="20">
                  <c:v>0</c:v>
                </c:pt>
                <c:pt idx="21">
                  <c:v>0</c:v>
                </c:pt>
                <c:pt idx="22">
                  <c:v>0</c:v>
                </c:pt>
                <c:pt idx="23">
                  <c:v>0</c:v>
                </c:pt>
                <c:pt idx="24">
                  <c:v>1</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Zdravotnické zařízení</c:v>
                </c:pt>
                <c:pt idx="3">
                  <c:v>Věznice</c:v>
                </c:pt>
                <c:pt idx="4">
                  <c:v>Ubytovací</c:v>
                </c:pt>
                <c:pt idx="5">
                  <c:v>Výrobní závod</c:v>
                </c:pt>
                <c:pt idx="6">
                  <c:v>Dětské domovy</c:v>
                </c:pt>
                <c:pt idx="7">
                  <c:v>Pracoviště</c:v>
                </c:pt>
                <c:pt idx="8">
                  <c:v>Sportovní</c:v>
                </c:pt>
                <c:pt idx="9">
                  <c:v>HZS</c:v>
                </c:pt>
                <c:pt idx="10">
                  <c:v>Kancelář, úřad</c:v>
                </c:pt>
                <c:pt idx="11">
                  <c:v>Církev</c:v>
                </c:pt>
                <c:pt idx="12">
                  <c:v>Dětský tábor</c:v>
                </c:pt>
                <c:pt idx="13">
                  <c:v>Divadlo</c:v>
                </c:pt>
                <c:pt idx="14">
                  <c:v>Hornictví</c:v>
                </c:pt>
                <c:pt idx="15">
                  <c:v>Policie</c:v>
                </c:pt>
                <c:pt idx="16">
                  <c:v>Prodejna, obchod</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3208</c:v>
                </c:pt>
                <c:pt idx="1">
                  <c:v>942</c:v>
                </c:pt>
                <c:pt idx="2">
                  <c:v>731</c:v>
                </c:pt>
                <c:pt idx="3">
                  <c:v>494</c:v>
                </c:pt>
                <c:pt idx="4">
                  <c:v>428</c:v>
                </c:pt>
                <c:pt idx="5">
                  <c:v>112</c:v>
                </c:pt>
                <c:pt idx="6">
                  <c:v>57</c:v>
                </c:pt>
                <c:pt idx="7">
                  <c:v>37</c:v>
                </c:pt>
                <c:pt idx="8">
                  <c:v>21</c:v>
                </c:pt>
                <c:pt idx="9">
                  <c:v>14</c:v>
                </c:pt>
                <c:pt idx="10">
                  <c:v>3</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Výrobní závod</c:v>
                </c:pt>
                <c:pt idx="4">
                  <c:v>Dětské domovy</c:v>
                </c:pt>
                <c:pt idx="5">
                  <c:v>Pracoviště</c:v>
                </c:pt>
                <c:pt idx="6">
                  <c:v>Ubytovací</c:v>
                </c:pt>
                <c:pt idx="7">
                  <c:v>Sportovní</c:v>
                </c:pt>
                <c:pt idx="8">
                  <c:v>Věznice</c:v>
                </c:pt>
                <c:pt idx="9">
                  <c:v>HZS</c:v>
                </c:pt>
                <c:pt idx="10">
                  <c:v>Kancelář, úřad</c:v>
                </c:pt>
                <c:pt idx="11">
                  <c:v>Církev</c:v>
                </c:pt>
                <c:pt idx="12">
                  <c:v>Dětský tábor</c:v>
                </c:pt>
                <c:pt idx="13">
                  <c:v>Divadlo</c:v>
                </c:pt>
                <c:pt idx="14">
                  <c:v>Hornictví</c:v>
                </c:pt>
                <c:pt idx="15">
                  <c:v>Policie</c:v>
                </c:pt>
                <c:pt idx="16">
                  <c:v>Prodejna, obchod</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64</c:v>
                </c:pt>
                <c:pt idx="1">
                  <c:v>75</c:v>
                </c:pt>
                <c:pt idx="2">
                  <c:v>26</c:v>
                </c:pt>
                <c:pt idx="3">
                  <c:v>6</c:v>
                </c:pt>
                <c:pt idx="4">
                  <c:v>5</c:v>
                </c:pt>
                <c:pt idx="5">
                  <c:v>4</c:v>
                </c:pt>
                <c:pt idx="6">
                  <c:v>3</c:v>
                </c:pt>
                <c:pt idx="7">
                  <c:v>2</c:v>
                </c:pt>
                <c:pt idx="8">
                  <c:v>2</c:v>
                </c:pt>
                <c:pt idx="9">
                  <c:v>1</c:v>
                </c:pt>
                <c:pt idx="10">
                  <c:v>1</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Výrobní závod</c:v>
                </c:pt>
                <c:pt idx="3">
                  <c:v>Zdravotnické zařízení</c:v>
                </c:pt>
                <c:pt idx="4">
                  <c:v>Věznice</c:v>
                </c:pt>
                <c:pt idx="5">
                  <c:v>Pracoviště</c:v>
                </c:pt>
                <c:pt idx="6">
                  <c:v>Dětské domovy</c:v>
                </c:pt>
                <c:pt idx="7">
                  <c:v>Hornictví</c:v>
                </c:pt>
                <c:pt idx="8">
                  <c:v>HZS</c:v>
                </c:pt>
                <c:pt idx="9">
                  <c:v>Kancelář, úřad</c:v>
                </c:pt>
                <c:pt idx="10">
                  <c:v>Ubytovací</c:v>
                </c:pt>
                <c:pt idx="11">
                  <c:v>Prodejna, obchod</c:v>
                </c:pt>
                <c:pt idx="12">
                  <c:v>Sportovní</c:v>
                </c:pt>
                <c:pt idx="13">
                  <c:v>Policie</c:v>
                </c:pt>
                <c:pt idx="14">
                  <c:v>Školení</c:v>
                </c:pt>
                <c:pt idx="15">
                  <c:v>Církev</c:v>
                </c:pt>
                <c:pt idx="16">
                  <c:v>Dětský tábor</c:v>
                </c:pt>
                <c:pt idx="17">
                  <c:v>Divadlo</c:v>
                </c:pt>
                <c:pt idx="18">
                  <c:v>Rodinný výskyt</c:v>
                </c:pt>
                <c:pt idx="19">
                  <c:v>Setkání známých / příbuzných</c:v>
                </c:pt>
                <c:pt idx="20">
                  <c:v>Společenská akce / klub</c:v>
                </c:pt>
                <c:pt idx="21">
                  <c:v>Stravovací</c:v>
                </c:pt>
                <c:pt idx="22">
                  <c:v>Svatba / pohřeb</c:v>
                </c:pt>
                <c:pt idx="23">
                  <c:v>Zájmové aktivity</c:v>
                </c:pt>
                <c:pt idx="24">
                  <c:v>Ostatní</c:v>
                </c:pt>
                <c:pt idx="25">
                  <c:v>Netýká se žádného zařízení</c:v>
                </c:pt>
              </c:strCache>
            </c:strRef>
          </c:cat>
          <c:val>
            <c:numRef>
              <c:f>List1!$B$2:$B$27</c:f>
              <c:numCache>
                <c:formatCode>General</c:formatCode>
                <c:ptCount val="26"/>
                <c:pt idx="0">
                  <c:v>6598</c:v>
                </c:pt>
                <c:pt idx="1">
                  <c:v>5283</c:v>
                </c:pt>
                <c:pt idx="2">
                  <c:v>1300</c:v>
                </c:pt>
                <c:pt idx="3">
                  <c:v>1236</c:v>
                </c:pt>
                <c:pt idx="4">
                  <c:v>1230</c:v>
                </c:pt>
                <c:pt idx="5">
                  <c:v>576</c:v>
                </c:pt>
                <c:pt idx="6">
                  <c:v>566</c:v>
                </c:pt>
                <c:pt idx="7">
                  <c:v>196</c:v>
                </c:pt>
                <c:pt idx="8">
                  <c:v>125</c:v>
                </c:pt>
                <c:pt idx="9">
                  <c:v>111</c:v>
                </c:pt>
                <c:pt idx="10">
                  <c:v>85</c:v>
                </c:pt>
                <c:pt idx="11">
                  <c:v>43</c:v>
                </c:pt>
                <c:pt idx="12">
                  <c:v>30</c:v>
                </c:pt>
                <c:pt idx="13">
                  <c:v>25</c:v>
                </c:pt>
                <c:pt idx="14">
                  <c:v>16</c:v>
                </c:pt>
                <c:pt idx="15">
                  <c:v>10</c:v>
                </c:pt>
                <c:pt idx="16">
                  <c:v>0</c:v>
                </c:pt>
                <c:pt idx="17">
                  <c:v>0</c:v>
                </c:pt>
                <c:pt idx="18">
                  <c:v>0</c:v>
                </c:pt>
                <c:pt idx="19">
                  <c:v>0</c:v>
                </c:pt>
                <c:pt idx="20">
                  <c:v>0</c:v>
                </c:pt>
                <c:pt idx="21">
                  <c:v>0</c:v>
                </c:pt>
                <c:pt idx="22">
                  <c:v>0</c:v>
                </c:pt>
                <c:pt idx="23">
                  <c:v>0</c:v>
                </c:pt>
                <c:pt idx="24">
                  <c:v>11</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Dětské domovy</c:v>
                </c:pt>
                <c:pt idx="3">
                  <c:v>Zdravotnické zařízení</c:v>
                </c:pt>
                <c:pt idx="4">
                  <c:v>Pracoviště</c:v>
                </c:pt>
                <c:pt idx="5">
                  <c:v>Výrobní závod</c:v>
                </c:pt>
                <c:pt idx="6">
                  <c:v>Kancelář, úřad</c:v>
                </c:pt>
                <c:pt idx="7">
                  <c:v>Věznice</c:v>
                </c:pt>
                <c:pt idx="8">
                  <c:v>HZS</c:v>
                </c:pt>
                <c:pt idx="9">
                  <c:v>Policie</c:v>
                </c:pt>
                <c:pt idx="10">
                  <c:v>Prodejna, obchod</c:v>
                </c:pt>
                <c:pt idx="11">
                  <c:v>Ubytovací</c:v>
                </c:pt>
                <c:pt idx="12">
                  <c:v>Sportovní</c:v>
                </c:pt>
                <c:pt idx="13">
                  <c:v>Školení</c:v>
                </c:pt>
                <c:pt idx="14">
                  <c:v>Církev</c:v>
                </c:pt>
                <c:pt idx="15">
                  <c:v>Hornictví</c:v>
                </c:pt>
                <c:pt idx="16">
                  <c:v>Dětský tábor</c:v>
                </c:pt>
                <c:pt idx="17">
                  <c:v>Divadlo</c:v>
                </c:pt>
                <c:pt idx="18">
                  <c:v>Rodinný výskyt</c:v>
                </c:pt>
                <c:pt idx="19">
                  <c:v>Setkání známých / příbuzných</c:v>
                </c:pt>
                <c:pt idx="20">
                  <c:v>Společenská akce / klub</c:v>
                </c:pt>
                <c:pt idx="21">
                  <c:v>Stravovací</c:v>
                </c:pt>
                <c:pt idx="22">
                  <c:v>Svatba / pohřeb</c:v>
                </c:pt>
                <c:pt idx="23">
                  <c:v>Zájmové aktivity</c:v>
                </c:pt>
                <c:pt idx="24">
                  <c:v>Ostatní</c:v>
                </c:pt>
                <c:pt idx="25">
                  <c:v>Netýká se žádného zařízení</c:v>
                </c:pt>
              </c:strCache>
            </c:strRef>
          </c:cat>
          <c:val>
            <c:numRef>
              <c:f>List1!$B$2:$B$27</c:f>
              <c:numCache>
                <c:formatCode>General</c:formatCode>
                <c:ptCount val="26"/>
                <c:pt idx="0">
                  <c:v>1109</c:v>
                </c:pt>
                <c:pt idx="1">
                  <c:v>213</c:v>
                </c:pt>
                <c:pt idx="2">
                  <c:v>38</c:v>
                </c:pt>
                <c:pt idx="3">
                  <c:v>38</c:v>
                </c:pt>
                <c:pt idx="4">
                  <c:v>37</c:v>
                </c:pt>
                <c:pt idx="5">
                  <c:v>36</c:v>
                </c:pt>
                <c:pt idx="6">
                  <c:v>10</c:v>
                </c:pt>
                <c:pt idx="7">
                  <c:v>8</c:v>
                </c:pt>
                <c:pt idx="8">
                  <c:v>5</c:v>
                </c:pt>
                <c:pt idx="9">
                  <c:v>4</c:v>
                </c:pt>
                <c:pt idx="10">
                  <c:v>4</c:v>
                </c:pt>
                <c:pt idx="11">
                  <c:v>3</c:v>
                </c:pt>
                <c:pt idx="12">
                  <c:v>2</c:v>
                </c:pt>
                <c:pt idx="13">
                  <c:v>2</c:v>
                </c:pt>
                <c:pt idx="14">
                  <c:v>1</c:v>
                </c:pt>
                <c:pt idx="15">
                  <c:v>1</c:v>
                </c:pt>
                <c:pt idx="16">
                  <c:v>0</c:v>
                </c:pt>
                <c:pt idx="17">
                  <c:v>0</c:v>
                </c:pt>
                <c:pt idx="18">
                  <c:v>0</c:v>
                </c:pt>
                <c:pt idx="19">
                  <c:v>0</c:v>
                </c:pt>
                <c:pt idx="20">
                  <c:v>0</c:v>
                </c:pt>
                <c:pt idx="21">
                  <c:v>0</c:v>
                </c:pt>
                <c:pt idx="22">
                  <c:v>0</c:v>
                </c:pt>
                <c:pt idx="23">
                  <c:v>0</c:v>
                </c:pt>
                <c:pt idx="24">
                  <c:v>1</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Výrobní závod</c:v>
                </c:pt>
                <c:pt idx="1">
                  <c:v>Školské zařízení</c:v>
                </c:pt>
                <c:pt idx="2">
                  <c:v>Zařízení sociálních služeb</c:v>
                </c:pt>
                <c:pt idx="3">
                  <c:v>Pracoviště</c:v>
                </c:pt>
                <c:pt idx="4">
                  <c:v>Věznice</c:v>
                </c:pt>
                <c:pt idx="5">
                  <c:v>Dětské domovy</c:v>
                </c:pt>
                <c:pt idx="6">
                  <c:v>Zdravotnické zařízení</c:v>
                </c:pt>
                <c:pt idx="7">
                  <c:v>Ubytovací</c:v>
                </c:pt>
                <c:pt idx="8">
                  <c:v>Kancelář, úřad</c:v>
                </c:pt>
                <c:pt idx="9">
                  <c:v>Prodejna, obchod</c:v>
                </c:pt>
                <c:pt idx="10">
                  <c:v>Sportovní</c:v>
                </c:pt>
                <c:pt idx="11">
                  <c:v>HZS</c:v>
                </c:pt>
                <c:pt idx="12">
                  <c:v>Církev</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916</c:v>
                </c:pt>
                <c:pt idx="1">
                  <c:v>1065</c:v>
                </c:pt>
                <c:pt idx="2">
                  <c:v>1047</c:v>
                </c:pt>
                <c:pt idx="3">
                  <c:v>684</c:v>
                </c:pt>
                <c:pt idx="4">
                  <c:v>628</c:v>
                </c:pt>
                <c:pt idx="5">
                  <c:v>363</c:v>
                </c:pt>
                <c:pt idx="6">
                  <c:v>355</c:v>
                </c:pt>
                <c:pt idx="7">
                  <c:v>246</c:v>
                </c:pt>
                <c:pt idx="8">
                  <c:v>49</c:v>
                </c:pt>
                <c:pt idx="9">
                  <c:v>47</c:v>
                </c:pt>
                <c:pt idx="10">
                  <c:v>40</c:v>
                </c:pt>
                <c:pt idx="11">
                  <c:v>13</c:v>
                </c:pt>
                <c:pt idx="12">
                  <c:v>7</c:v>
                </c:pt>
                <c:pt idx="13">
                  <c:v>6</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Výrobní závod</c:v>
                </c:pt>
                <c:pt idx="3">
                  <c:v>Pracoviště</c:v>
                </c:pt>
                <c:pt idx="4">
                  <c:v>Dětské domovy</c:v>
                </c:pt>
                <c:pt idx="5">
                  <c:v>Zdravotnické zařízení</c:v>
                </c:pt>
                <c:pt idx="6">
                  <c:v>Ubytovací</c:v>
                </c:pt>
                <c:pt idx="7">
                  <c:v>Věznice</c:v>
                </c:pt>
                <c:pt idx="8">
                  <c:v>Prodejna, obchod</c:v>
                </c:pt>
                <c:pt idx="9">
                  <c:v>Sportovní</c:v>
                </c:pt>
                <c:pt idx="10">
                  <c:v>Kancelář, úřad</c:v>
                </c:pt>
                <c:pt idx="11">
                  <c:v>Církev</c:v>
                </c:pt>
                <c:pt idx="12">
                  <c:v>HZS</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271</c:v>
                </c:pt>
                <c:pt idx="1">
                  <c:v>63</c:v>
                </c:pt>
                <c:pt idx="2">
                  <c:v>60</c:v>
                </c:pt>
                <c:pt idx="3">
                  <c:v>46</c:v>
                </c:pt>
                <c:pt idx="4">
                  <c:v>30</c:v>
                </c:pt>
                <c:pt idx="5">
                  <c:v>17</c:v>
                </c:pt>
                <c:pt idx="6">
                  <c:v>14</c:v>
                </c:pt>
                <c:pt idx="7">
                  <c:v>8</c:v>
                </c:pt>
                <c:pt idx="8">
                  <c:v>3</c:v>
                </c:pt>
                <c:pt idx="9">
                  <c:v>3</c:v>
                </c:pt>
                <c:pt idx="10">
                  <c:v>2</c:v>
                </c:pt>
                <c:pt idx="11">
                  <c:v>1</c:v>
                </c:pt>
                <c:pt idx="12">
                  <c:v>1</c:v>
                </c:pt>
                <c:pt idx="13">
                  <c:v>1</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Věznice</c:v>
                </c:pt>
                <c:pt idx="1">
                  <c:v>Školské zařízení</c:v>
                </c:pt>
                <c:pt idx="2">
                  <c:v>Pracoviště</c:v>
                </c:pt>
                <c:pt idx="3">
                  <c:v>Výrobní závod</c:v>
                </c:pt>
                <c:pt idx="4">
                  <c:v>Zdravotnické zařízení</c:v>
                </c:pt>
                <c:pt idx="5">
                  <c:v>Ubytovací</c:v>
                </c:pt>
                <c:pt idx="6">
                  <c:v>Zařízení sociálních služeb</c:v>
                </c:pt>
                <c:pt idx="7">
                  <c:v>Kancelář, úřad</c:v>
                </c:pt>
                <c:pt idx="8">
                  <c:v>Dětské domovy</c:v>
                </c:pt>
                <c:pt idx="9">
                  <c:v>Rodinný výskyt</c:v>
                </c:pt>
                <c:pt idx="10">
                  <c:v>Sportovní</c:v>
                </c:pt>
                <c:pt idx="11">
                  <c:v>Prodejna, obchod</c:v>
                </c:pt>
                <c:pt idx="12">
                  <c:v>Církev</c:v>
                </c:pt>
                <c:pt idx="13">
                  <c:v>Dětský tábor</c:v>
                </c:pt>
                <c:pt idx="14">
                  <c:v>Divadlo</c:v>
                </c:pt>
                <c:pt idx="15">
                  <c:v>Hornictví</c:v>
                </c:pt>
                <c:pt idx="16">
                  <c:v>HZS</c:v>
                </c:pt>
                <c:pt idx="17">
                  <c:v>Policie</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002</c:v>
                </c:pt>
                <c:pt idx="1">
                  <c:v>828</c:v>
                </c:pt>
                <c:pt idx="2">
                  <c:v>478</c:v>
                </c:pt>
                <c:pt idx="3">
                  <c:v>426</c:v>
                </c:pt>
                <c:pt idx="4">
                  <c:v>210</c:v>
                </c:pt>
                <c:pt idx="5">
                  <c:v>143</c:v>
                </c:pt>
                <c:pt idx="6">
                  <c:v>86</c:v>
                </c:pt>
                <c:pt idx="7">
                  <c:v>37</c:v>
                </c:pt>
                <c:pt idx="8">
                  <c:v>34</c:v>
                </c:pt>
                <c:pt idx="9">
                  <c:v>21</c:v>
                </c:pt>
                <c:pt idx="10">
                  <c:v>7</c:v>
                </c:pt>
                <c:pt idx="11">
                  <c:v>3</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Pracoviště</c:v>
                </c:pt>
                <c:pt idx="2">
                  <c:v>Výrobní závod</c:v>
                </c:pt>
                <c:pt idx="3">
                  <c:v>Zdravotnické zařízení</c:v>
                </c:pt>
                <c:pt idx="4">
                  <c:v>Ubytovací</c:v>
                </c:pt>
                <c:pt idx="5">
                  <c:v>Zařízení sociálních služeb</c:v>
                </c:pt>
                <c:pt idx="6">
                  <c:v>Dětské domovy</c:v>
                </c:pt>
                <c:pt idx="7">
                  <c:v>Věznice</c:v>
                </c:pt>
                <c:pt idx="8">
                  <c:v>Kancelář, úřad</c:v>
                </c:pt>
                <c:pt idx="9">
                  <c:v>Rodinný výskyt</c:v>
                </c:pt>
                <c:pt idx="10">
                  <c:v>Prodejna, obchod</c:v>
                </c:pt>
                <c:pt idx="11">
                  <c:v>Sportovní</c:v>
                </c:pt>
                <c:pt idx="12">
                  <c:v>Církev</c:v>
                </c:pt>
                <c:pt idx="13">
                  <c:v>Dětský tábor</c:v>
                </c:pt>
                <c:pt idx="14">
                  <c:v>Divadlo</c:v>
                </c:pt>
                <c:pt idx="15">
                  <c:v>Hornictví</c:v>
                </c:pt>
                <c:pt idx="16">
                  <c:v>HZS</c:v>
                </c:pt>
                <c:pt idx="17">
                  <c:v>Policie</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261</c:v>
                </c:pt>
                <c:pt idx="1">
                  <c:v>41</c:v>
                </c:pt>
                <c:pt idx="2">
                  <c:v>31</c:v>
                </c:pt>
                <c:pt idx="3">
                  <c:v>18</c:v>
                </c:pt>
                <c:pt idx="4">
                  <c:v>15</c:v>
                </c:pt>
                <c:pt idx="5">
                  <c:v>13</c:v>
                </c:pt>
                <c:pt idx="6">
                  <c:v>7</c:v>
                </c:pt>
                <c:pt idx="7">
                  <c:v>7</c:v>
                </c:pt>
                <c:pt idx="8">
                  <c:v>6</c:v>
                </c:pt>
                <c:pt idx="9">
                  <c:v>4</c:v>
                </c:pt>
                <c:pt idx="10">
                  <c:v>1</c:v>
                </c:pt>
                <c:pt idx="11">
                  <c:v>1</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7837267334037241"/>
          <c:h val="0.7625415858135032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9</c:v>
                </c:pt>
                <c:pt idx="1">
                  <c:v>41</c:v>
                </c:pt>
                <c:pt idx="2">
                  <c:v>55</c:v>
                </c:pt>
                <c:pt idx="3">
                  <c:v>29</c:v>
                </c:pt>
                <c:pt idx="4">
                  <c:v>28</c:v>
                </c:pt>
                <c:pt idx="5">
                  <c:v>39</c:v>
                </c:pt>
                <c:pt idx="6">
                  <c:v>57</c:v>
                </c:pt>
                <c:pt idx="7">
                  <c:v>54</c:v>
                </c:pt>
                <c:pt idx="8">
                  <c:v>129</c:v>
                </c:pt>
                <c:pt idx="9">
                  <c:v>64</c:v>
                </c:pt>
                <c:pt idx="10">
                  <c:v>81</c:v>
                </c:pt>
                <c:pt idx="11">
                  <c:v>127</c:v>
                </c:pt>
                <c:pt idx="12">
                  <c:v>77</c:v>
                </c:pt>
                <c:pt idx="13">
                  <c:v>88</c:v>
                </c:pt>
                <c:pt idx="14">
                  <c:v>177</c:v>
                </c:pt>
                <c:pt idx="15">
                  <c:v>160</c:v>
                </c:pt>
                <c:pt idx="16">
                  <c:v>24</c:v>
                </c:pt>
                <c:pt idx="17">
                  <c:v>119</c:v>
                </c:pt>
                <c:pt idx="18">
                  <c:v>21</c:v>
                </c:pt>
                <c:pt idx="19">
                  <c:v>180</c:v>
                </c:pt>
                <c:pt idx="20">
                  <c:v>206</c:v>
                </c:pt>
                <c:pt idx="21">
                  <c:v>216</c:v>
                </c:pt>
                <c:pt idx="22">
                  <c:v>239</c:v>
                </c:pt>
                <c:pt idx="23">
                  <c:v>473</c:v>
                </c:pt>
                <c:pt idx="24">
                  <c:v>932</c:v>
                </c:pt>
                <c:pt idx="25">
                  <c:v>770</c:v>
                </c:pt>
                <c:pt idx="26">
                  <c:v>405</c:v>
                </c:pt>
                <c:pt idx="27">
                  <c:v>115</c:v>
                </c:pt>
                <c:pt idx="28">
                  <c:v>162</c:v>
                </c:pt>
                <c:pt idx="29">
                  <c:v>5</c:v>
                </c:pt>
                <c:pt idx="30">
                  <c:v>14</c:v>
                </c:pt>
                <c:pt idx="31">
                  <c:v>0</c:v>
                </c:pt>
                <c:pt idx="32">
                  <c:v>9</c:v>
                </c:pt>
                <c:pt idx="33">
                  <c:v>37</c:v>
                </c:pt>
                <c:pt idx="34">
                  <c:v>46</c:v>
                </c:pt>
                <c:pt idx="35">
                  <c:v>58</c:v>
                </c:pt>
                <c:pt idx="36">
                  <c:v>57</c:v>
                </c:pt>
                <c:pt idx="37">
                  <c:v>49</c:v>
                </c:pt>
                <c:pt idx="38">
                  <c:v>48</c:v>
                </c:pt>
                <c:pt idx="39">
                  <c:v>32</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3:$AO$3</c:f>
              <c:numCache>
                <c:formatCode>General</c:formatCode>
                <c:ptCount val="40"/>
                <c:pt idx="0">
                  <c:v>51</c:v>
                </c:pt>
                <c:pt idx="1">
                  <c:v>39</c:v>
                </c:pt>
                <c:pt idx="2">
                  <c:v>38</c:v>
                </c:pt>
                <c:pt idx="3">
                  <c:v>17</c:v>
                </c:pt>
                <c:pt idx="4">
                  <c:v>14</c:v>
                </c:pt>
                <c:pt idx="5">
                  <c:v>25</c:v>
                </c:pt>
                <c:pt idx="6">
                  <c:v>7</c:v>
                </c:pt>
                <c:pt idx="7">
                  <c:v>63</c:v>
                </c:pt>
                <c:pt idx="8">
                  <c:v>32</c:v>
                </c:pt>
                <c:pt idx="9">
                  <c:v>17</c:v>
                </c:pt>
                <c:pt idx="10">
                  <c:v>7</c:v>
                </c:pt>
                <c:pt idx="11">
                  <c:v>1</c:v>
                </c:pt>
                <c:pt idx="12">
                  <c:v>1</c:v>
                </c:pt>
                <c:pt idx="13">
                  <c:v>4</c:v>
                </c:pt>
                <c:pt idx="14">
                  <c:v>33</c:v>
                </c:pt>
                <c:pt idx="15">
                  <c:v>16</c:v>
                </c:pt>
                <c:pt idx="16">
                  <c:v>37</c:v>
                </c:pt>
                <c:pt idx="17">
                  <c:v>22</c:v>
                </c:pt>
                <c:pt idx="18">
                  <c:v>0</c:v>
                </c:pt>
                <c:pt idx="19">
                  <c:v>45</c:v>
                </c:pt>
                <c:pt idx="20">
                  <c:v>42</c:v>
                </c:pt>
                <c:pt idx="21">
                  <c:v>106</c:v>
                </c:pt>
                <c:pt idx="22">
                  <c:v>20</c:v>
                </c:pt>
                <c:pt idx="23">
                  <c:v>32</c:v>
                </c:pt>
                <c:pt idx="24">
                  <c:v>169</c:v>
                </c:pt>
                <c:pt idx="25">
                  <c:v>183</c:v>
                </c:pt>
                <c:pt idx="26">
                  <c:v>66</c:v>
                </c:pt>
                <c:pt idx="27">
                  <c:v>4</c:v>
                </c:pt>
                <c:pt idx="28">
                  <c:v>13</c:v>
                </c:pt>
                <c:pt idx="29">
                  <c:v>5</c:v>
                </c:pt>
                <c:pt idx="30">
                  <c:v>4</c:v>
                </c:pt>
                <c:pt idx="31">
                  <c:v>2</c:v>
                </c:pt>
                <c:pt idx="32">
                  <c:v>3</c:v>
                </c:pt>
                <c:pt idx="33">
                  <c:v>41</c:v>
                </c:pt>
                <c:pt idx="34">
                  <c:v>14</c:v>
                </c:pt>
                <c:pt idx="35">
                  <c:v>23</c:v>
                </c:pt>
                <c:pt idx="36">
                  <c:v>4</c:v>
                </c:pt>
                <c:pt idx="37">
                  <c:v>18</c:v>
                </c:pt>
                <c:pt idx="38">
                  <c:v>7</c:v>
                </c:pt>
                <c:pt idx="39">
                  <c:v>0</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4:$AO$4</c:f>
              <c:numCache>
                <c:formatCode>General</c:formatCode>
                <c:ptCount val="40"/>
                <c:pt idx="0">
                  <c:v>0</c:v>
                </c:pt>
                <c:pt idx="1">
                  <c:v>4</c:v>
                </c:pt>
                <c:pt idx="2">
                  <c:v>5</c:v>
                </c:pt>
                <c:pt idx="3">
                  <c:v>0</c:v>
                </c:pt>
                <c:pt idx="4">
                  <c:v>0</c:v>
                </c:pt>
                <c:pt idx="5">
                  <c:v>9</c:v>
                </c:pt>
                <c:pt idx="6">
                  <c:v>0</c:v>
                </c:pt>
                <c:pt idx="7">
                  <c:v>0</c:v>
                </c:pt>
                <c:pt idx="8">
                  <c:v>17</c:v>
                </c:pt>
                <c:pt idx="9">
                  <c:v>0</c:v>
                </c:pt>
                <c:pt idx="10">
                  <c:v>0</c:v>
                </c:pt>
                <c:pt idx="11">
                  <c:v>0</c:v>
                </c:pt>
                <c:pt idx="12">
                  <c:v>0</c:v>
                </c:pt>
                <c:pt idx="13">
                  <c:v>3</c:v>
                </c:pt>
                <c:pt idx="14">
                  <c:v>2</c:v>
                </c:pt>
                <c:pt idx="15">
                  <c:v>0</c:v>
                </c:pt>
                <c:pt idx="16">
                  <c:v>0</c:v>
                </c:pt>
                <c:pt idx="17">
                  <c:v>2</c:v>
                </c:pt>
                <c:pt idx="18">
                  <c:v>0</c:v>
                </c:pt>
                <c:pt idx="19">
                  <c:v>0</c:v>
                </c:pt>
                <c:pt idx="20">
                  <c:v>4</c:v>
                </c:pt>
                <c:pt idx="21">
                  <c:v>2</c:v>
                </c:pt>
                <c:pt idx="22">
                  <c:v>0</c:v>
                </c:pt>
                <c:pt idx="23">
                  <c:v>0</c:v>
                </c:pt>
                <c:pt idx="24">
                  <c:v>17</c:v>
                </c:pt>
                <c:pt idx="25">
                  <c:v>1</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5:$AO$5</c:f>
              <c:numCache>
                <c:formatCode>General</c:formatCode>
                <c:ptCount val="40"/>
                <c:pt idx="0">
                  <c:v>46</c:v>
                </c:pt>
                <c:pt idx="1">
                  <c:v>361</c:v>
                </c:pt>
                <c:pt idx="2">
                  <c:v>330</c:v>
                </c:pt>
                <c:pt idx="3">
                  <c:v>190</c:v>
                </c:pt>
                <c:pt idx="4">
                  <c:v>134</c:v>
                </c:pt>
                <c:pt idx="5">
                  <c:v>190</c:v>
                </c:pt>
                <c:pt idx="6">
                  <c:v>24</c:v>
                </c:pt>
                <c:pt idx="7">
                  <c:v>181</c:v>
                </c:pt>
                <c:pt idx="8">
                  <c:v>67</c:v>
                </c:pt>
                <c:pt idx="9">
                  <c:v>0</c:v>
                </c:pt>
                <c:pt idx="10">
                  <c:v>0</c:v>
                </c:pt>
                <c:pt idx="11">
                  <c:v>17</c:v>
                </c:pt>
                <c:pt idx="12">
                  <c:v>18</c:v>
                </c:pt>
                <c:pt idx="13">
                  <c:v>33</c:v>
                </c:pt>
                <c:pt idx="14">
                  <c:v>221</c:v>
                </c:pt>
                <c:pt idx="15">
                  <c:v>132</c:v>
                </c:pt>
                <c:pt idx="16">
                  <c:v>12</c:v>
                </c:pt>
                <c:pt idx="17">
                  <c:v>68</c:v>
                </c:pt>
                <c:pt idx="18">
                  <c:v>3</c:v>
                </c:pt>
                <c:pt idx="19">
                  <c:v>67</c:v>
                </c:pt>
                <c:pt idx="20">
                  <c:v>82</c:v>
                </c:pt>
                <c:pt idx="21">
                  <c:v>88</c:v>
                </c:pt>
                <c:pt idx="22">
                  <c:v>81</c:v>
                </c:pt>
                <c:pt idx="23">
                  <c:v>201</c:v>
                </c:pt>
                <c:pt idx="24">
                  <c:v>397</c:v>
                </c:pt>
                <c:pt idx="25">
                  <c:v>208</c:v>
                </c:pt>
                <c:pt idx="26">
                  <c:v>185</c:v>
                </c:pt>
                <c:pt idx="27">
                  <c:v>35</c:v>
                </c:pt>
                <c:pt idx="28">
                  <c:v>21</c:v>
                </c:pt>
                <c:pt idx="29">
                  <c:v>9</c:v>
                </c:pt>
                <c:pt idx="30">
                  <c:v>9</c:v>
                </c:pt>
                <c:pt idx="31">
                  <c:v>5</c:v>
                </c:pt>
                <c:pt idx="32">
                  <c:v>15</c:v>
                </c:pt>
                <c:pt idx="33">
                  <c:v>55</c:v>
                </c:pt>
                <c:pt idx="34">
                  <c:v>93</c:v>
                </c:pt>
                <c:pt idx="35">
                  <c:v>48</c:v>
                </c:pt>
                <c:pt idx="36">
                  <c:v>23</c:v>
                </c:pt>
                <c:pt idx="37">
                  <c:v>49</c:v>
                </c:pt>
                <c:pt idx="38">
                  <c:v>77</c:v>
                </c:pt>
                <c:pt idx="39">
                  <c:v>34</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6:$AO$6</c:f>
              <c:numCache>
                <c:formatCode>General</c:formatCode>
                <c:ptCount val="40"/>
                <c:pt idx="0">
                  <c:v>0</c:v>
                </c:pt>
                <c:pt idx="1">
                  <c:v>4</c:v>
                </c:pt>
                <c:pt idx="2">
                  <c:v>1</c:v>
                </c:pt>
                <c:pt idx="3">
                  <c:v>13</c:v>
                </c:pt>
                <c:pt idx="4">
                  <c:v>0</c:v>
                </c:pt>
                <c:pt idx="5">
                  <c:v>1</c:v>
                </c:pt>
                <c:pt idx="6">
                  <c:v>0</c:v>
                </c:pt>
                <c:pt idx="7">
                  <c:v>0</c:v>
                </c:pt>
                <c:pt idx="8">
                  <c:v>0</c:v>
                </c:pt>
                <c:pt idx="9">
                  <c:v>0</c:v>
                </c:pt>
                <c:pt idx="10">
                  <c:v>0</c:v>
                </c:pt>
                <c:pt idx="11">
                  <c:v>0</c:v>
                </c:pt>
                <c:pt idx="12">
                  <c:v>0</c:v>
                </c:pt>
                <c:pt idx="13">
                  <c:v>0</c:v>
                </c:pt>
                <c:pt idx="14">
                  <c:v>2</c:v>
                </c:pt>
                <c:pt idx="15">
                  <c:v>2</c:v>
                </c:pt>
                <c:pt idx="16">
                  <c:v>0</c:v>
                </c:pt>
                <c:pt idx="17">
                  <c:v>0</c:v>
                </c:pt>
                <c:pt idx="18">
                  <c:v>0</c:v>
                </c:pt>
                <c:pt idx="19">
                  <c:v>0</c:v>
                </c:pt>
                <c:pt idx="20">
                  <c:v>0</c:v>
                </c:pt>
                <c:pt idx="21">
                  <c:v>0</c:v>
                </c:pt>
                <c:pt idx="22">
                  <c:v>0</c:v>
                </c:pt>
                <c:pt idx="23">
                  <c:v>7</c:v>
                </c:pt>
                <c:pt idx="24">
                  <c:v>11</c:v>
                </c:pt>
                <c:pt idx="25">
                  <c:v>0</c:v>
                </c:pt>
                <c:pt idx="26">
                  <c:v>0</c:v>
                </c:pt>
                <c:pt idx="27">
                  <c:v>0</c:v>
                </c:pt>
                <c:pt idx="28">
                  <c:v>0</c:v>
                </c:pt>
                <c:pt idx="29">
                  <c:v>0</c:v>
                </c:pt>
                <c:pt idx="30">
                  <c:v>0</c:v>
                </c:pt>
                <c:pt idx="31">
                  <c:v>0</c:v>
                </c:pt>
                <c:pt idx="32">
                  <c:v>0</c:v>
                </c:pt>
                <c:pt idx="33">
                  <c:v>1</c:v>
                </c:pt>
                <c:pt idx="34">
                  <c:v>8</c:v>
                </c:pt>
                <c:pt idx="35">
                  <c:v>1</c:v>
                </c:pt>
                <c:pt idx="36">
                  <c:v>0</c:v>
                </c:pt>
                <c:pt idx="37">
                  <c:v>0</c:v>
                </c:pt>
                <c:pt idx="38">
                  <c:v>0</c:v>
                </c:pt>
                <c:pt idx="39">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7:$AO$7</c:f>
              <c:numCache>
                <c:formatCode>General</c:formatCode>
                <c:ptCount val="40"/>
                <c:pt idx="0">
                  <c:v>28</c:v>
                </c:pt>
                <c:pt idx="1">
                  <c:v>291</c:v>
                </c:pt>
                <c:pt idx="2">
                  <c:v>272</c:v>
                </c:pt>
                <c:pt idx="3">
                  <c:v>114</c:v>
                </c:pt>
                <c:pt idx="4">
                  <c:v>143</c:v>
                </c:pt>
                <c:pt idx="5">
                  <c:v>119</c:v>
                </c:pt>
                <c:pt idx="6">
                  <c:v>22</c:v>
                </c:pt>
                <c:pt idx="7">
                  <c:v>39</c:v>
                </c:pt>
                <c:pt idx="8">
                  <c:v>16</c:v>
                </c:pt>
                <c:pt idx="9">
                  <c:v>0</c:v>
                </c:pt>
                <c:pt idx="10">
                  <c:v>0</c:v>
                </c:pt>
                <c:pt idx="11">
                  <c:v>0</c:v>
                </c:pt>
                <c:pt idx="12">
                  <c:v>0</c:v>
                </c:pt>
                <c:pt idx="13">
                  <c:v>9</c:v>
                </c:pt>
                <c:pt idx="14">
                  <c:v>26</c:v>
                </c:pt>
                <c:pt idx="15">
                  <c:v>0</c:v>
                </c:pt>
                <c:pt idx="16">
                  <c:v>43</c:v>
                </c:pt>
                <c:pt idx="17">
                  <c:v>29</c:v>
                </c:pt>
                <c:pt idx="18">
                  <c:v>0</c:v>
                </c:pt>
                <c:pt idx="19">
                  <c:v>0</c:v>
                </c:pt>
                <c:pt idx="20">
                  <c:v>0</c:v>
                </c:pt>
                <c:pt idx="21">
                  <c:v>0</c:v>
                </c:pt>
                <c:pt idx="22">
                  <c:v>19</c:v>
                </c:pt>
                <c:pt idx="23">
                  <c:v>2</c:v>
                </c:pt>
                <c:pt idx="24">
                  <c:v>0</c:v>
                </c:pt>
                <c:pt idx="25">
                  <c:v>0</c:v>
                </c:pt>
                <c:pt idx="26">
                  <c:v>0</c:v>
                </c:pt>
                <c:pt idx="27">
                  <c:v>0</c:v>
                </c:pt>
                <c:pt idx="28">
                  <c:v>0</c:v>
                </c:pt>
                <c:pt idx="29">
                  <c:v>0</c:v>
                </c:pt>
                <c:pt idx="30">
                  <c:v>0</c:v>
                </c:pt>
                <c:pt idx="31">
                  <c:v>0</c:v>
                </c:pt>
                <c:pt idx="32">
                  <c:v>1</c:v>
                </c:pt>
                <c:pt idx="33">
                  <c:v>0</c:v>
                </c:pt>
                <c:pt idx="34">
                  <c:v>1</c:v>
                </c:pt>
                <c:pt idx="35">
                  <c:v>2</c:v>
                </c:pt>
                <c:pt idx="36">
                  <c:v>1</c:v>
                </c:pt>
                <c:pt idx="37">
                  <c:v>0</c:v>
                </c:pt>
                <c:pt idx="38">
                  <c:v>2</c:v>
                </c:pt>
                <c:pt idx="39">
                  <c:v>23</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8:$AO$8</c:f>
              <c:numCache>
                <c:formatCode>General</c:formatCode>
                <c:ptCount val="40"/>
                <c:pt idx="0">
                  <c:v>1</c:v>
                </c:pt>
                <c:pt idx="1">
                  <c:v>6</c:v>
                </c:pt>
                <c:pt idx="2">
                  <c:v>9</c:v>
                </c:pt>
                <c:pt idx="3">
                  <c:v>0</c:v>
                </c:pt>
                <c:pt idx="4">
                  <c:v>31</c:v>
                </c:pt>
                <c:pt idx="5">
                  <c:v>4</c:v>
                </c:pt>
                <c:pt idx="6">
                  <c:v>0</c:v>
                </c:pt>
                <c:pt idx="7">
                  <c:v>6</c:v>
                </c:pt>
                <c:pt idx="8">
                  <c:v>0</c:v>
                </c:pt>
                <c:pt idx="9">
                  <c:v>0</c:v>
                </c:pt>
                <c:pt idx="10">
                  <c:v>0</c:v>
                </c:pt>
                <c:pt idx="11">
                  <c:v>0</c:v>
                </c:pt>
                <c:pt idx="12">
                  <c:v>0</c:v>
                </c:pt>
                <c:pt idx="13">
                  <c:v>0</c:v>
                </c:pt>
                <c:pt idx="14">
                  <c:v>21</c:v>
                </c:pt>
                <c:pt idx="15">
                  <c:v>13</c:v>
                </c:pt>
                <c:pt idx="16">
                  <c:v>5</c:v>
                </c:pt>
                <c:pt idx="17">
                  <c:v>2</c:v>
                </c:pt>
                <c:pt idx="18">
                  <c:v>0</c:v>
                </c:pt>
                <c:pt idx="19">
                  <c:v>0</c:v>
                </c:pt>
                <c:pt idx="20">
                  <c:v>0</c:v>
                </c:pt>
                <c:pt idx="21">
                  <c:v>0</c:v>
                </c:pt>
                <c:pt idx="22">
                  <c:v>0</c:v>
                </c:pt>
                <c:pt idx="23">
                  <c:v>0</c:v>
                </c:pt>
                <c:pt idx="24">
                  <c:v>0</c:v>
                </c:pt>
                <c:pt idx="25">
                  <c:v>15</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9:$AO$9</c:f>
              <c:numCache>
                <c:formatCode>General</c:formatCode>
                <c:ptCount val="40"/>
                <c:pt idx="0">
                  <c:v>0</c:v>
                </c:pt>
                <c:pt idx="1">
                  <c:v>8</c:v>
                </c:pt>
                <c:pt idx="2">
                  <c:v>1</c:v>
                </c:pt>
                <c:pt idx="3">
                  <c:v>0</c:v>
                </c:pt>
                <c:pt idx="4">
                  <c:v>0</c:v>
                </c:pt>
                <c:pt idx="5">
                  <c:v>5</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3</c:v>
                </c:pt>
                <c:pt idx="37">
                  <c:v>0</c:v>
                </c:pt>
                <c:pt idx="38">
                  <c:v>0</c:v>
                </c:pt>
                <c:pt idx="39">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10:$AO$10</c:f>
              <c:numCache>
                <c:formatCode>General</c:formatCode>
                <c:ptCount val="40"/>
                <c:pt idx="0">
                  <c:v>0</c:v>
                </c:pt>
                <c:pt idx="1">
                  <c:v>46</c:v>
                </c:pt>
                <c:pt idx="2">
                  <c:v>0</c:v>
                </c:pt>
                <c:pt idx="3">
                  <c:v>0</c:v>
                </c:pt>
                <c:pt idx="4">
                  <c:v>61</c:v>
                </c:pt>
                <c:pt idx="5">
                  <c:v>31</c:v>
                </c:pt>
                <c:pt idx="6">
                  <c:v>10</c:v>
                </c:pt>
                <c:pt idx="7">
                  <c:v>9</c:v>
                </c:pt>
                <c:pt idx="8">
                  <c:v>0</c:v>
                </c:pt>
                <c:pt idx="9">
                  <c:v>16</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3</c:v>
                </c:pt>
                <c:pt idx="39">
                  <c:v>0</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11:$AO$11</c:f>
              <c:numCache>
                <c:formatCode>General</c:formatCode>
                <c:ptCount val="40"/>
                <c:pt idx="0">
                  <c:v>0</c:v>
                </c:pt>
                <c:pt idx="1">
                  <c:v>0</c:v>
                </c:pt>
                <c:pt idx="2">
                  <c:v>0</c:v>
                </c:pt>
                <c:pt idx="3">
                  <c:v>0</c:v>
                </c:pt>
                <c:pt idx="4">
                  <c:v>0</c:v>
                </c:pt>
                <c:pt idx="5">
                  <c:v>0</c:v>
                </c:pt>
                <c:pt idx="6">
                  <c:v>0</c:v>
                </c:pt>
                <c:pt idx="7">
                  <c:v>0</c:v>
                </c:pt>
                <c:pt idx="8">
                  <c:v>2</c:v>
                </c:pt>
                <c:pt idx="9">
                  <c:v>0</c:v>
                </c:pt>
                <c:pt idx="10">
                  <c:v>0</c:v>
                </c:pt>
                <c:pt idx="11">
                  <c:v>0</c:v>
                </c:pt>
                <c:pt idx="12">
                  <c:v>0</c:v>
                </c:pt>
                <c:pt idx="13">
                  <c:v>0</c:v>
                </c:pt>
                <c:pt idx="14">
                  <c:v>0</c:v>
                </c:pt>
                <c:pt idx="15">
                  <c:v>0</c:v>
                </c:pt>
                <c:pt idx="16">
                  <c:v>2</c:v>
                </c:pt>
                <c:pt idx="17">
                  <c:v>0</c:v>
                </c:pt>
                <c:pt idx="18">
                  <c:v>0</c:v>
                </c:pt>
                <c:pt idx="19">
                  <c:v>44</c:v>
                </c:pt>
                <c:pt idx="20">
                  <c:v>0</c:v>
                </c:pt>
                <c:pt idx="21">
                  <c:v>9</c:v>
                </c:pt>
                <c:pt idx="22">
                  <c:v>0</c:v>
                </c:pt>
                <c:pt idx="23">
                  <c:v>8</c:v>
                </c:pt>
                <c:pt idx="24">
                  <c:v>2</c:v>
                </c:pt>
                <c:pt idx="25">
                  <c:v>16</c:v>
                </c:pt>
                <c:pt idx="26">
                  <c:v>1</c:v>
                </c:pt>
                <c:pt idx="27">
                  <c:v>0</c:v>
                </c:pt>
                <c:pt idx="28">
                  <c:v>0</c:v>
                </c:pt>
                <c:pt idx="29">
                  <c:v>0</c:v>
                </c:pt>
                <c:pt idx="30">
                  <c:v>3</c:v>
                </c:pt>
                <c:pt idx="31">
                  <c:v>2</c:v>
                </c:pt>
                <c:pt idx="32">
                  <c:v>0</c:v>
                </c:pt>
                <c:pt idx="33">
                  <c:v>0</c:v>
                </c:pt>
                <c:pt idx="34">
                  <c:v>0</c:v>
                </c:pt>
                <c:pt idx="35">
                  <c:v>0</c:v>
                </c:pt>
                <c:pt idx="36">
                  <c:v>0</c:v>
                </c:pt>
                <c:pt idx="37">
                  <c:v>0</c:v>
                </c:pt>
                <c:pt idx="38">
                  <c:v>0</c:v>
                </c:pt>
                <c:pt idx="39">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82961173910805841"/>
          <c:y val="3.3173697993799545E-2"/>
          <c:w val="0.17038826089194165"/>
          <c:h val="0.9113312319184766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Výrobní závod</c:v>
                </c:pt>
                <c:pt idx="4">
                  <c:v>Pracoviště</c:v>
                </c:pt>
                <c:pt idx="5">
                  <c:v>Sportovní</c:v>
                </c:pt>
                <c:pt idx="6">
                  <c:v>Dětské domovy</c:v>
                </c:pt>
                <c:pt idx="7">
                  <c:v>Kancelář, úřad</c:v>
                </c:pt>
                <c:pt idx="8">
                  <c:v>Věznice</c:v>
                </c:pt>
                <c:pt idx="9">
                  <c:v>Ubytovací</c:v>
                </c:pt>
                <c:pt idx="10">
                  <c:v>Společenská akce / klub</c:v>
                </c:pt>
                <c:pt idx="11">
                  <c:v>Setkání známých / příbuzných</c:v>
                </c:pt>
                <c:pt idx="12">
                  <c:v>Prodejna, obchod</c:v>
                </c:pt>
                <c:pt idx="13">
                  <c:v>Svatba / pohřeb</c:v>
                </c:pt>
                <c:pt idx="14">
                  <c:v>Policie</c:v>
                </c:pt>
                <c:pt idx="15">
                  <c:v>Zájmové aktivity</c:v>
                </c:pt>
                <c:pt idx="16">
                  <c:v>Rodinný výskyt</c:v>
                </c:pt>
                <c:pt idx="17">
                  <c:v>HZS</c:v>
                </c:pt>
                <c:pt idx="18">
                  <c:v>Divadlo</c:v>
                </c:pt>
                <c:pt idx="19">
                  <c:v>Dětský tábor</c:v>
                </c:pt>
                <c:pt idx="20">
                  <c:v>Stravovací</c:v>
                </c:pt>
                <c:pt idx="21">
                  <c:v>Církev</c:v>
                </c:pt>
                <c:pt idx="22">
                  <c:v>Školení</c:v>
                </c:pt>
                <c:pt idx="23">
                  <c:v>Hornictví</c:v>
                </c:pt>
                <c:pt idx="24">
                  <c:v>Ostatní</c:v>
                </c:pt>
                <c:pt idx="25">
                  <c:v>Netýká se žádného zařízení</c:v>
                </c:pt>
              </c:strCache>
            </c:strRef>
          </c:cat>
          <c:val>
            <c:numRef>
              <c:f>List1!$B$2:$B$27</c:f>
              <c:numCache>
                <c:formatCode>General</c:formatCode>
                <c:ptCount val="26"/>
                <c:pt idx="0">
                  <c:v>2663</c:v>
                </c:pt>
                <c:pt idx="1">
                  <c:v>855</c:v>
                </c:pt>
                <c:pt idx="2">
                  <c:v>365</c:v>
                </c:pt>
                <c:pt idx="3">
                  <c:v>258</c:v>
                </c:pt>
                <c:pt idx="4">
                  <c:v>189</c:v>
                </c:pt>
                <c:pt idx="5">
                  <c:v>109</c:v>
                </c:pt>
                <c:pt idx="6">
                  <c:v>103</c:v>
                </c:pt>
                <c:pt idx="7">
                  <c:v>62</c:v>
                </c:pt>
                <c:pt idx="8">
                  <c:v>44</c:v>
                </c:pt>
                <c:pt idx="9">
                  <c:v>43</c:v>
                </c:pt>
                <c:pt idx="10">
                  <c:v>29</c:v>
                </c:pt>
                <c:pt idx="11">
                  <c:v>27</c:v>
                </c:pt>
                <c:pt idx="12">
                  <c:v>22</c:v>
                </c:pt>
                <c:pt idx="13">
                  <c:v>22</c:v>
                </c:pt>
                <c:pt idx="14">
                  <c:v>20</c:v>
                </c:pt>
                <c:pt idx="15">
                  <c:v>19</c:v>
                </c:pt>
                <c:pt idx="16">
                  <c:v>15</c:v>
                </c:pt>
                <c:pt idx="17">
                  <c:v>14</c:v>
                </c:pt>
                <c:pt idx="18">
                  <c:v>13</c:v>
                </c:pt>
                <c:pt idx="19">
                  <c:v>10</c:v>
                </c:pt>
                <c:pt idx="20">
                  <c:v>9</c:v>
                </c:pt>
                <c:pt idx="21">
                  <c:v>7</c:v>
                </c:pt>
                <c:pt idx="22">
                  <c:v>7</c:v>
                </c:pt>
                <c:pt idx="23">
                  <c:v>6</c:v>
                </c:pt>
                <c:pt idx="24">
                  <c:v>15</c:v>
                </c:pt>
                <c:pt idx="25">
                  <c:v>8</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1008453100743407"/>
          <c:h val="0.7649789138851705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2:$AO$2</c:f>
              <c:numCache>
                <c:formatCode>General</c:formatCode>
                <c:ptCount val="31"/>
                <c:pt idx="0">
                  <c:v>64</c:v>
                </c:pt>
                <c:pt idx="1">
                  <c:v>81</c:v>
                </c:pt>
                <c:pt idx="2">
                  <c:v>127</c:v>
                </c:pt>
                <c:pt idx="3">
                  <c:v>77</c:v>
                </c:pt>
                <c:pt idx="4">
                  <c:v>88</c:v>
                </c:pt>
                <c:pt idx="5">
                  <c:v>177</c:v>
                </c:pt>
                <c:pt idx="6">
                  <c:v>160</c:v>
                </c:pt>
                <c:pt idx="7">
                  <c:v>24</c:v>
                </c:pt>
                <c:pt idx="8">
                  <c:v>119</c:v>
                </c:pt>
                <c:pt idx="9">
                  <c:v>21</c:v>
                </c:pt>
                <c:pt idx="10">
                  <c:v>180</c:v>
                </c:pt>
                <c:pt idx="11">
                  <c:v>206</c:v>
                </c:pt>
                <c:pt idx="12">
                  <c:v>216</c:v>
                </c:pt>
                <c:pt idx="13">
                  <c:v>239</c:v>
                </c:pt>
                <c:pt idx="14">
                  <c:v>473</c:v>
                </c:pt>
                <c:pt idx="15">
                  <c:v>932</c:v>
                </c:pt>
                <c:pt idx="16">
                  <c:v>770</c:v>
                </c:pt>
                <c:pt idx="17">
                  <c:v>405</c:v>
                </c:pt>
                <c:pt idx="18">
                  <c:v>115</c:v>
                </c:pt>
                <c:pt idx="19">
                  <c:v>162</c:v>
                </c:pt>
                <c:pt idx="20">
                  <c:v>5</c:v>
                </c:pt>
                <c:pt idx="21">
                  <c:v>14</c:v>
                </c:pt>
                <c:pt idx="22">
                  <c:v>0</c:v>
                </c:pt>
                <c:pt idx="23">
                  <c:v>9</c:v>
                </c:pt>
                <c:pt idx="24">
                  <c:v>37</c:v>
                </c:pt>
                <c:pt idx="25">
                  <c:v>46</c:v>
                </c:pt>
                <c:pt idx="26">
                  <c:v>58</c:v>
                </c:pt>
                <c:pt idx="27">
                  <c:v>57</c:v>
                </c:pt>
                <c:pt idx="28">
                  <c:v>49</c:v>
                </c:pt>
                <c:pt idx="29">
                  <c:v>48</c:v>
                </c:pt>
                <c:pt idx="30">
                  <c:v>32</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3:$AO$3</c:f>
              <c:numCache>
                <c:formatCode>General</c:formatCode>
                <c:ptCount val="31"/>
                <c:pt idx="0">
                  <c:v>17</c:v>
                </c:pt>
                <c:pt idx="1">
                  <c:v>7</c:v>
                </c:pt>
                <c:pt idx="2">
                  <c:v>1</c:v>
                </c:pt>
                <c:pt idx="3">
                  <c:v>1</c:v>
                </c:pt>
                <c:pt idx="4">
                  <c:v>4</c:v>
                </c:pt>
                <c:pt idx="5">
                  <c:v>33</c:v>
                </c:pt>
                <c:pt idx="6">
                  <c:v>16</c:v>
                </c:pt>
                <c:pt idx="7">
                  <c:v>37</c:v>
                </c:pt>
                <c:pt idx="8">
                  <c:v>22</c:v>
                </c:pt>
                <c:pt idx="9">
                  <c:v>0</c:v>
                </c:pt>
                <c:pt idx="10">
                  <c:v>45</c:v>
                </c:pt>
                <c:pt idx="11">
                  <c:v>42</c:v>
                </c:pt>
                <c:pt idx="12">
                  <c:v>106</c:v>
                </c:pt>
                <c:pt idx="13">
                  <c:v>20</c:v>
                </c:pt>
                <c:pt idx="14">
                  <c:v>32</c:v>
                </c:pt>
                <c:pt idx="15">
                  <c:v>169</c:v>
                </c:pt>
                <c:pt idx="16">
                  <c:v>183</c:v>
                </c:pt>
                <c:pt idx="17">
                  <c:v>66</c:v>
                </c:pt>
                <c:pt idx="18">
                  <c:v>4</c:v>
                </c:pt>
                <c:pt idx="19">
                  <c:v>13</c:v>
                </c:pt>
                <c:pt idx="20">
                  <c:v>5</c:v>
                </c:pt>
                <c:pt idx="21">
                  <c:v>4</c:v>
                </c:pt>
                <c:pt idx="22">
                  <c:v>2</c:v>
                </c:pt>
                <c:pt idx="23">
                  <c:v>3</c:v>
                </c:pt>
                <c:pt idx="24">
                  <c:v>41</c:v>
                </c:pt>
                <c:pt idx="25">
                  <c:v>14</c:v>
                </c:pt>
                <c:pt idx="26">
                  <c:v>23</c:v>
                </c:pt>
                <c:pt idx="27">
                  <c:v>4</c:v>
                </c:pt>
                <c:pt idx="28">
                  <c:v>18</c:v>
                </c:pt>
                <c:pt idx="29">
                  <c:v>7</c:v>
                </c:pt>
                <c:pt idx="30">
                  <c:v>0</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4:$AO$4</c:f>
              <c:numCache>
                <c:formatCode>General</c:formatCode>
                <c:ptCount val="31"/>
                <c:pt idx="0">
                  <c:v>0</c:v>
                </c:pt>
                <c:pt idx="1">
                  <c:v>0</c:v>
                </c:pt>
                <c:pt idx="2">
                  <c:v>0</c:v>
                </c:pt>
                <c:pt idx="3">
                  <c:v>0</c:v>
                </c:pt>
                <c:pt idx="4">
                  <c:v>3</c:v>
                </c:pt>
                <c:pt idx="5">
                  <c:v>2</c:v>
                </c:pt>
                <c:pt idx="6">
                  <c:v>0</c:v>
                </c:pt>
                <c:pt idx="7">
                  <c:v>0</c:v>
                </c:pt>
                <c:pt idx="8">
                  <c:v>2</c:v>
                </c:pt>
                <c:pt idx="9">
                  <c:v>0</c:v>
                </c:pt>
                <c:pt idx="10">
                  <c:v>0</c:v>
                </c:pt>
                <c:pt idx="11">
                  <c:v>4</c:v>
                </c:pt>
                <c:pt idx="12">
                  <c:v>2</c:v>
                </c:pt>
                <c:pt idx="13">
                  <c:v>0</c:v>
                </c:pt>
                <c:pt idx="14">
                  <c:v>0</c:v>
                </c:pt>
                <c:pt idx="15">
                  <c:v>17</c:v>
                </c:pt>
                <c:pt idx="16">
                  <c:v>1</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5:$AO$5</c:f>
              <c:numCache>
                <c:formatCode>General</c:formatCode>
                <c:ptCount val="31"/>
                <c:pt idx="0">
                  <c:v>0</c:v>
                </c:pt>
                <c:pt idx="1">
                  <c:v>0</c:v>
                </c:pt>
                <c:pt idx="2">
                  <c:v>17</c:v>
                </c:pt>
                <c:pt idx="3">
                  <c:v>18</c:v>
                </c:pt>
                <c:pt idx="4">
                  <c:v>33</c:v>
                </c:pt>
                <c:pt idx="5">
                  <c:v>221</c:v>
                </c:pt>
                <c:pt idx="6">
                  <c:v>132</c:v>
                </c:pt>
                <c:pt idx="7">
                  <c:v>12</c:v>
                </c:pt>
                <c:pt idx="8">
                  <c:v>68</c:v>
                </c:pt>
                <c:pt idx="9">
                  <c:v>3</c:v>
                </c:pt>
                <c:pt idx="10">
                  <c:v>67</c:v>
                </c:pt>
                <c:pt idx="11">
                  <c:v>82</c:v>
                </c:pt>
                <c:pt idx="12">
                  <c:v>88</c:v>
                </c:pt>
                <c:pt idx="13">
                  <c:v>81</c:v>
                </c:pt>
                <c:pt idx="14">
                  <c:v>201</c:v>
                </c:pt>
                <c:pt idx="15">
                  <c:v>397</c:v>
                </c:pt>
                <c:pt idx="16">
                  <c:v>208</c:v>
                </c:pt>
                <c:pt idx="17">
                  <c:v>185</c:v>
                </c:pt>
                <c:pt idx="18">
                  <c:v>35</c:v>
                </c:pt>
                <c:pt idx="19">
                  <c:v>21</c:v>
                </c:pt>
                <c:pt idx="20">
                  <c:v>9</c:v>
                </c:pt>
                <c:pt idx="21">
                  <c:v>9</c:v>
                </c:pt>
                <c:pt idx="22">
                  <c:v>5</c:v>
                </c:pt>
                <c:pt idx="23">
                  <c:v>15</c:v>
                </c:pt>
                <c:pt idx="24">
                  <c:v>55</c:v>
                </c:pt>
                <c:pt idx="25">
                  <c:v>93</c:v>
                </c:pt>
                <c:pt idx="26">
                  <c:v>48</c:v>
                </c:pt>
                <c:pt idx="27">
                  <c:v>23</c:v>
                </c:pt>
                <c:pt idx="28">
                  <c:v>49</c:v>
                </c:pt>
                <c:pt idx="29">
                  <c:v>77</c:v>
                </c:pt>
                <c:pt idx="30">
                  <c:v>34</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6:$AO$6</c:f>
              <c:numCache>
                <c:formatCode>General</c:formatCode>
                <c:ptCount val="31"/>
                <c:pt idx="0">
                  <c:v>0</c:v>
                </c:pt>
                <c:pt idx="1">
                  <c:v>0</c:v>
                </c:pt>
                <c:pt idx="2">
                  <c:v>0</c:v>
                </c:pt>
                <c:pt idx="3">
                  <c:v>0</c:v>
                </c:pt>
                <c:pt idx="4">
                  <c:v>0</c:v>
                </c:pt>
                <c:pt idx="5">
                  <c:v>2</c:v>
                </c:pt>
                <c:pt idx="6">
                  <c:v>2</c:v>
                </c:pt>
                <c:pt idx="7">
                  <c:v>0</c:v>
                </c:pt>
                <c:pt idx="8">
                  <c:v>0</c:v>
                </c:pt>
                <c:pt idx="9">
                  <c:v>0</c:v>
                </c:pt>
                <c:pt idx="10">
                  <c:v>0</c:v>
                </c:pt>
                <c:pt idx="11">
                  <c:v>0</c:v>
                </c:pt>
                <c:pt idx="12">
                  <c:v>0</c:v>
                </c:pt>
                <c:pt idx="13">
                  <c:v>0</c:v>
                </c:pt>
                <c:pt idx="14">
                  <c:v>7</c:v>
                </c:pt>
                <c:pt idx="15">
                  <c:v>11</c:v>
                </c:pt>
                <c:pt idx="16">
                  <c:v>0</c:v>
                </c:pt>
                <c:pt idx="17">
                  <c:v>0</c:v>
                </c:pt>
                <c:pt idx="18">
                  <c:v>0</c:v>
                </c:pt>
                <c:pt idx="19">
                  <c:v>0</c:v>
                </c:pt>
                <c:pt idx="20">
                  <c:v>0</c:v>
                </c:pt>
                <c:pt idx="21">
                  <c:v>0</c:v>
                </c:pt>
                <c:pt idx="22">
                  <c:v>0</c:v>
                </c:pt>
                <c:pt idx="23">
                  <c:v>0</c:v>
                </c:pt>
                <c:pt idx="24">
                  <c:v>1</c:v>
                </c:pt>
                <c:pt idx="25">
                  <c:v>8</c:v>
                </c:pt>
                <c:pt idx="26">
                  <c:v>1</c:v>
                </c:pt>
                <c:pt idx="27">
                  <c:v>0</c:v>
                </c:pt>
                <c:pt idx="28">
                  <c:v>0</c:v>
                </c:pt>
                <c:pt idx="29">
                  <c:v>0</c:v>
                </c:pt>
                <c:pt idx="30">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7:$AO$7</c:f>
              <c:numCache>
                <c:formatCode>General</c:formatCode>
                <c:ptCount val="31"/>
                <c:pt idx="0">
                  <c:v>0</c:v>
                </c:pt>
                <c:pt idx="1">
                  <c:v>0</c:v>
                </c:pt>
                <c:pt idx="2">
                  <c:v>0</c:v>
                </c:pt>
                <c:pt idx="3">
                  <c:v>0</c:v>
                </c:pt>
                <c:pt idx="4">
                  <c:v>9</c:v>
                </c:pt>
                <c:pt idx="5">
                  <c:v>26</c:v>
                </c:pt>
                <c:pt idx="6">
                  <c:v>0</c:v>
                </c:pt>
                <c:pt idx="7">
                  <c:v>43</c:v>
                </c:pt>
                <c:pt idx="8">
                  <c:v>29</c:v>
                </c:pt>
                <c:pt idx="9">
                  <c:v>0</c:v>
                </c:pt>
                <c:pt idx="10">
                  <c:v>0</c:v>
                </c:pt>
                <c:pt idx="11">
                  <c:v>0</c:v>
                </c:pt>
                <c:pt idx="12">
                  <c:v>0</c:v>
                </c:pt>
                <c:pt idx="13">
                  <c:v>19</c:v>
                </c:pt>
                <c:pt idx="14">
                  <c:v>2</c:v>
                </c:pt>
                <c:pt idx="15">
                  <c:v>0</c:v>
                </c:pt>
                <c:pt idx="16">
                  <c:v>0</c:v>
                </c:pt>
                <c:pt idx="17">
                  <c:v>0</c:v>
                </c:pt>
                <c:pt idx="18">
                  <c:v>0</c:v>
                </c:pt>
                <c:pt idx="19">
                  <c:v>0</c:v>
                </c:pt>
                <c:pt idx="20">
                  <c:v>0</c:v>
                </c:pt>
                <c:pt idx="21">
                  <c:v>0</c:v>
                </c:pt>
                <c:pt idx="22">
                  <c:v>0</c:v>
                </c:pt>
                <c:pt idx="23">
                  <c:v>1</c:v>
                </c:pt>
                <c:pt idx="24">
                  <c:v>0</c:v>
                </c:pt>
                <c:pt idx="25">
                  <c:v>1</c:v>
                </c:pt>
                <c:pt idx="26">
                  <c:v>2</c:v>
                </c:pt>
                <c:pt idx="27">
                  <c:v>1</c:v>
                </c:pt>
                <c:pt idx="28">
                  <c:v>0</c:v>
                </c:pt>
                <c:pt idx="29">
                  <c:v>2</c:v>
                </c:pt>
                <c:pt idx="30">
                  <c:v>23</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8:$AO$8</c:f>
              <c:numCache>
                <c:formatCode>General</c:formatCode>
                <c:ptCount val="31"/>
                <c:pt idx="0">
                  <c:v>0</c:v>
                </c:pt>
                <c:pt idx="1">
                  <c:v>0</c:v>
                </c:pt>
                <c:pt idx="2">
                  <c:v>0</c:v>
                </c:pt>
                <c:pt idx="3">
                  <c:v>0</c:v>
                </c:pt>
                <c:pt idx="4">
                  <c:v>0</c:v>
                </c:pt>
                <c:pt idx="5">
                  <c:v>21</c:v>
                </c:pt>
                <c:pt idx="6">
                  <c:v>13</c:v>
                </c:pt>
                <c:pt idx="7">
                  <c:v>5</c:v>
                </c:pt>
                <c:pt idx="8">
                  <c:v>2</c:v>
                </c:pt>
                <c:pt idx="9">
                  <c:v>0</c:v>
                </c:pt>
                <c:pt idx="10">
                  <c:v>0</c:v>
                </c:pt>
                <c:pt idx="11">
                  <c:v>0</c:v>
                </c:pt>
                <c:pt idx="12">
                  <c:v>0</c:v>
                </c:pt>
                <c:pt idx="13">
                  <c:v>0</c:v>
                </c:pt>
                <c:pt idx="14">
                  <c:v>0</c:v>
                </c:pt>
                <c:pt idx="15">
                  <c:v>0</c:v>
                </c:pt>
                <c:pt idx="16">
                  <c:v>15</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9:$AO$9</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3</c:v>
                </c:pt>
                <c:pt idx="28">
                  <c:v>0</c:v>
                </c:pt>
                <c:pt idx="29">
                  <c:v>0</c:v>
                </c:pt>
                <c:pt idx="30">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10:$AO$10</c:f>
              <c:numCache>
                <c:formatCode>General</c:formatCode>
                <c:ptCount val="31"/>
                <c:pt idx="0">
                  <c:v>16</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3</c:v>
                </c:pt>
                <c:pt idx="30">
                  <c:v>0</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K$1:$AO$1</c:f>
              <c:strCache>
                <c:ptCount val="31"/>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4.6.</c:v>
                </c:pt>
              </c:strCache>
            </c:strRef>
          </c:cat>
          <c:val>
            <c:numRef>
              <c:f>List1!$K$11:$AO$11</c:f>
              <c:numCache>
                <c:formatCode>General</c:formatCode>
                <c:ptCount val="31"/>
                <c:pt idx="0">
                  <c:v>0</c:v>
                </c:pt>
                <c:pt idx="1">
                  <c:v>0</c:v>
                </c:pt>
                <c:pt idx="2">
                  <c:v>0</c:v>
                </c:pt>
                <c:pt idx="3">
                  <c:v>0</c:v>
                </c:pt>
                <c:pt idx="4">
                  <c:v>0</c:v>
                </c:pt>
                <c:pt idx="5">
                  <c:v>0</c:v>
                </c:pt>
                <c:pt idx="6">
                  <c:v>0</c:v>
                </c:pt>
                <c:pt idx="7">
                  <c:v>2</c:v>
                </c:pt>
                <c:pt idx="8">
                  <c:v>0</c:v>
                </c:pt>
                <c:pt idx="9">
                  <c:v>0</c:v>
                </c:pt>
                <c:pt idx="10">
                  <c:v>44</c:v>
                </c:pt>
                <c:pt idx="11">
                  <c:v>0</c:v>
                </c:pt>
                <c:pt idx="12">
                  <c:v>9</c:v>
                </c:pt>
                <c:pt idx="13">
                  <c:v>0</c:v>
                </c:pt>
                <c:pt idx="14">
                  <c:v>8</c:v>
                </c:pt>
                <c:pt idx="15">
                  <c:v>2</c:v>
                </c:pt>
                <c:pt idx="16">
                  <c:v>16</c:v>
                </c:pt>
                <c:pt idx="17">
                  <c:v>1</c:v>
                </c:pt>
                <c:pt idx="18">
                  <c:v>0</c:v>
                </c:pt>
                <c:pt idx="19">
                  <c:v>0</c:v>
                </c:pt>
                <c:pt idx="20">
                  <c:v>0</c:v>
                </c:pt>
                <c:pt idx="21">
                  <c:v>3</c:v>
                </c:pt>
                <c:pt idx="22">
                  <c:v>2</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76240753554230933"/>
          <c:y val="3.3173697993799545E-2"/>
          <c:w val="0.2375924644576905"/>
          <c:h val="0.9332665407402257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60</c:v>
                </c:pt>
                <c:pt idx="1">
                  <c:v>84</c:v>
                </c:pt>
                <c:pt idx="2">
                  <c:v>98</c:v>
                </c:pt>
                <c:pt idx="3">
                  <c:v>46</c:v>
                </c:pt>
                <c:pt idx="4">
                  <c:v>42</c:v>
                </c:pt>
                <c:pt idx="5">
                  <c:v>73</c:v>
                </c:pt>
                <c:pt idx="6">
                  <c:v>64</c:v>
                </c:pt>
                <c:pt idx="7">
                  <c:v>117</c:v>
                </c:pt>
                <c:pt idx="8">
                  <c:v>178</c:v>
                </c:pt>
                <c:pt idx="9">
                  <c:v>81</c:v>
                </c:pt>
                <c:pt idx="10">
                  <c:v>88</c:v>
                </c:pt>
                <c:pt idx="11">
                  <c:v>128</c:v>
                </c:pt>
                <c:pt idx="12">
                  <c:v>78</c:v>
                </c:pt>
                <c:pt idx="13">
                  <c:v>95</c:v>
                </c:pt>
                <c:pt idx="14">
                  <c:v>212</c:v>
                </c:pt>
                <c:pt idx="15">
                  <c:v>176</c:v>
                </c:pt>
                <c:pt idx="16">
                  <c:v>61</c:v>
                </c:pt>
                <c:pt idx="17">
                  <c:v>143</c:v>
                </c:pt>
                <c:pt idx="18">
                  <c:v>21</c:v>
                </c:pt>
                <c:pt idx="19">
                  <c:v>225</c:v>
                </c:pt>
                <c:pt idx="20">
                  <c:v>252</c:v>
                </c:pt>
                <c:pt idx="21">
                  <c:v>324</c:v>
                </c:pt>
                <c:pt idx="22">
                  <c:v>259</c:v>
                </c:pt>
                <c:pt idx="23">
                  <c:v>505</c:v>
                </c:pt>
                <c:pt idx="24">
                  <c:v>1118</c:v>
                </c:pt>
                <c:pt idx="25">
                  <c:v>954</c:v>
                </c:pt>
                <c:pt idx="26">
                  <c:v>471</c:v>
                </c:pt>
                <c:pt idx="27">
                  <c:v>119</c:v>
                </c:pt>
                <c:pt idx="28">
                  <c:v>175</c:v>
                </c:pt>
                <c:pt idx="29">
                  <c:v>10</c:v>
                </c:pt>
                <c:pt idx="30">
                  <c:v>18</c:v>
                </c:pt>
                <c:pt idx="31">
                  <c:v>2</c:v>
                </c:pt>
                <c:pt idx="32">
                  <c:v>12</c:v>
                </c:pt>
                <c:pt idx="33">
                  <c:v>78</c:v>
                </c:pt>
                <c:pt idx="34">
                  <c:v>60</c:v>
                </c:pt>
                <c:pt idx="35">
                  <c:v>81</c:v>
                </c:pt>
                <c:pt idx="36">
                  <c:v>61</c:v>
                </c:pt>
                <c:pt idx="37">
                  <c:v>67</c:v>
                </c:pt>
                <c:pt idx="38">
                  <c:v>55</c:v>
                </c:pt>
                <c:pt idx="39">
                  <c:v>32</c:v>
                </c:pt>
              </c:numCache>
            </c:numRef>
          </c:val>
          <c:extLst>
            <c:ext xmlns:c16="http://schemas.microsoft.com/office/drawing/2014/chart" uri="{C3380CC4-5D6E-409C-BE32-E72D297353CC}">
              <c16:uniqueId val="{00000000-8145-4348-BB1C-5DD451156E9D}"/>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46</c:v>
                </c:pt>
                <c:pt idx="1">
                  <c:v>365</c:v>
                </c:pt>
                <c:pt idx="2">
                  <c:v>331</c:v>
                </c:pt>
                <c:pt idx="3">
                  <c:v>203</c:v>
                </c:pt>
                <c:pt idx="4">
                  <c:v>134</c:v>
                </c:pt>
                <c:pt idx="5">
                  <c:v>191</c:v>
                </c:pt>
                <c:pt idx="6">
                  <c:v>24</c:v>
                </c:pt>
                <c:pt idx="7">
                  <c:v>181</c:v>
                </c:pt>
                <c:pt idx="8">
                  <c:v>67</c:v>
                </c:pt>
                <c:pt idx="9">
                  <c:v>0</c:v>
                </c:pt>
                <c:pt idx="10">
                  <c:v>0</c:v>
                </c:pt>
                <c:pt idx="11">
                  <c:v>17</c:v>
                </c:pt>
                <c:pt idx="12">
                  <c:v>18</c:v>
                </c:pt>
                <c:pt idx="13">
                  <c:v>33</c:v>
                </c:pt>
                <c:pt idx="14">
                  <c:v>223</c:v>
                </c:pt>
                <c:pt idx="15">
                  <c:v>134</c:v>
                </c:pt>
                <c:pt idx="16">
                  <c:v>12</c:v>
                </c:pt>
                <c:pt idx="17">
                  <c:v>68</c:v>
                </c:pt>
                <c:pt idx="18">
                  <c:v>3</c:v>
                </c:pt>
                <c:pt idx="19">
                  <c:v>67</c:v>
                </c:pt>
                <c:pt idx="20">
                  <c:v>82</c:v>
                </c:pt>
                <c:pt idx="21">
                  <c:v>88</c:v>
                </c:pt>
                <c:pt idx="22">
                  <c:v>81</c:v>
                </c:pt>
                <c:pt idx="23">
                  <c:v>208</c:v>
                </c:pt>
                <c:pt idx="24">
                  <c:v>408</c:v>
                </c:pt>
                <c:pt idx="25">
                  <c:v>208</c:v>
                </c:pt>
                <c:pt idx="26">
                  <c:v>185</c:v>
                </c:pt>
                <c:pt idx="27">
                  <c:v>35</c:v>
                </c:pt>
                <c:pt idx="28">
                  <c:v>21</c:v>
                </c:pt>
                <c:pt idx="29">
                  <c:v>9</c:v>
                </c:pt>
                <c:pt idx="30">
                  <c:v>9</c:v>
                </c:pt>
                <c:pt idx="31">
                  <c:v>5</c:v>
                </c:pt>
                <c:pt idx="32">
                  <c:v>15</c:v>
                </c:pt>
                <c:pt idx="33">
                  <c:v>56</c:v>
                </c:pt>
                <c:pt idx="34">
                  <c:v>101</c:v>
                </c:pt>
                <c:pt idx="35">
                  <c:v>49</c:v>
                </c:pt>
                <c:pt idx="36">
                  <c:v>23</c:v>
                </c:pt>
                <c:pt idx="37">
                  <c:v>49</c:v>
                </c:pt>
                <c:pt idx="38">
                  <c:v>77</c:v>
                </c:pt>
                <c:pt idx="39">
                  <c:v>34</c:v>
                </c:pt>
              </c:numCache>
            </c:numRef>
          </c:val>
          <c:extLst>
            <c:ext xmlns:c16="http://schemas.microsoft.com/office/drawing/2014/chart" uri="{C3380CC4-5D6E-409C-BE32-E72D297353CC}">
              <c16:uniqueId val="{00000000-8145-4348-BB1C-5DD451156E9D}"/>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29</c:v>
                </c:pt>
                <c:pt idx="1">
                  <c:v>297</c:v>
                </c:pt>
                <c:pt idx="2">
                  <c:v>281</c:v>
                </c:pt>
                <c:pt idx="3">
                  <c:v>114</c:v>
                </c:pt>
                <c:pt idx="4">
                  <c:v>174</c:v>
                </c:pt>
                <c:pt idx="5">
                  <c:v>123</c:v>
                </c:pt>
                <c:pt idx="6">
                  <c:v>22</c:v>
                </c:pt>
                <c:pt idx="7">
                  <c:v>45</c:v>
                </c:pt>
                <c:pt idx="8">
                  <c:v>16</c:v>
                </c:pt>
                <c:pt idx="9">
                  <c:v>0</c:v>
                </c:pt>
                <c:pt idx="10">
                  <c:v>0</c:v>
                </c:pt>
                <c:pt idx="11">
                  <c:v>0</c:v>
                </c:pt>
                <c:pt idx="12">
                  <c:v>0</c:v>
                </c:pt>
                <c:pt idx="13">
                  <c:v>9</c:v>
                </c:pt>
                <c:pt idx="14">
                  <c:v>47</c:v>
                </c:pt>
                <c:pt idx="15">
                  <c:v>13</c:v>
                </c:pt>
                <c:pt idx="16">
                  <c:v>48</c:v>
                </c:pt>
                <c:pt idx="17">
                  <c:v>31</c:v>
                </c:pt>
                <c:pt idx="18">
                  <c:v>0</c:v>
                </c:pt>
                <c:pt idx="19">
                  <c:v>0</c:v>
                </c:pt>
                <c:pt idx="20">
                  <c:v>0</c:v>
                </c:pt>
                <c:pt idx="21">
                  <c:v>0</c:v>
                </c:pt>
                <c:pt idx="22">
                  <c:v>19</c:v>
                </c:pt>
                <c:pt idx="23">
                  <c:v>2</c:v>
                </c:pt>
                <c:pt idx="24">
                  <c:v>0</c:v>
                </c:pt>
                <c:pt idx="25">
                  <c:v>15</c:v>
                </c:pt>
                <c:pt idx="26">
                  <c:v>0</c:v>
                </c:pt>
                <c:pt idx="27">
                  <c:v>0</c:v>
                </c:pt>
                <c:pt idx="28">
                  <c:v>0</c:v>
                </c:pt>
                <c:pt idx="29">
                  <c:v>0</c:v>
                </c:pt>
                <c:pt idx="30">
                  <c:v>0</c:v>
                </c:pt>
                <c:pt idx="31">
                  <c:v>0</c:v>
                </c:pt>
                <c:pt idx="32">
                  <c:v>1</c:v>
                </c:pt>
                <c:pt idx="33">
                  <c:v>0</c:v>
                </c:pt>
                <c:pt idx="34">
                  <c:v>1</c:v>
                </c:pt>
                <c:pt idx="35">
                  <c:v>2</c:v>
                </c:pt>
                <c:pt idx="36">
                  <c:v>1</c:v>
                </c:pt>
                <c:pt idx="37">
                  <c:v>0</c:v>
                </c:pt>
                <c:pt idx="38">
                  <c:v>2</c:v>
                </c:pt>
                <c:pt idx="39">
                  <c:v>23</c:v>
                </c:pt>
              </c:numCache>
            </c:numRef>
          </c:val>
          <c:extLst>
            <c:ext xmlns:c16="http://schemas.microsoft.com/office/drawing/2014/chart" uri="{C3380CC4-5D6E-409C-BE32-E72D297353CC}">
              <c16:uniqueId val="{00000000-8145-4348-BB1C-5DD451156E9D}"/>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95256064013306"/>
          <c:y val="6.3054229611496343E-2"/>
          <c:w val="0.50395194024861023"/>
          <c:h val="0.91717732257132245"/>
        </c:manualLayout>
      </c:layout>
      <c:barChart>
        <c:barDir val="bar"/>
        <c:grouping val="clustered"/>
        <c:varyColors val="0"/>
        <c:ser>
          <c:idx val="0"/>
          <c:order val="0"/>
          <c:tx>
            <c:strRef>
              <c:f>List1!$B$1</c:f>
              <c:strCache>
                <c:ptCount val="1"/>
                <c:pt idx="0">
                  <c:v>1.9.-13.10. (43 dní)</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B$2:$B$10</c:f>
              <c:numCache>
                <c:formatCode>General</c:formatCode>
                <c:ptCount val="9"/>
                <c:pt idx="0">
                  <c:v>33.534880000000001</c:v>
                </c:pt>
                <c:pt idx="1">
                  <c:v>30.930230000000002</c:v>
                </c:pt>
                <c:pt idx="2">
                  <c:v>2.9302329999999999</c:v>
                </c:pt>
                <c:pt idx="3">
                  <c:v>206.74420000000001</c:v>
                </c:pt>
                <c:pt idx="4">
                  <c:v>3.0930230000000001</c:v>
                </c:pt>
                <c:pt idx="5">
                  <c:v>156.76740000000001</c:v>
                </c:pt>
                <c:pt idx="6">
                  <c:v>8.3023260000000008</c:v>
                </c:pt>
                <c:pt idx="7">
                  <c:v>2.2790699999999999</c:v>
                </c:pt>
              </c:numCache>
            </c:numRef>
          </c:val>
          <c:extLst>
            <c:ext xmlns:c16="http://schemas.microsoft.com/office/drawing/2014/chart" uri="{C3380CC4-5D6E-409C-BE32-E72D297353CC}">
              <c16:uniqueId val="{00000000-19C1-49A9-9767-2FA51E11961E}"/>
            </c:ext>
          </c:extLst>
        </c:ser>
        <c:ser>
          <c:idx val="1"/>
          <c:order val="1"/>
          <c:tx>
            <c:strRef>
              <c:f>List1!$C$1</c:f>
              <c:strCache>
                <c:ptCount val="1"/>
                <c:pt idx="0">
                  <c:v>14.10.-17.11. (35 dní)</c:v>
                </c:pt>
              </c:strCache>
            </c:strRef>
          </c:tx>
          <c:spPr>
            <a:solidFill>
              <a:schemeClr val="tx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C$2:$C$10</c:f>
              <c:numCache>
                <c:formatCode>General</c:formatCode>
                <c:ptCount val="9"/>
                <c:pt idx="0">
                  <c:v>76.8</c:v>
                </c:pt>
                <c:pt idx="1">
                  <c:v>24</c:v>
                </c:pt>
                <c:pt idx="2">
                  <c:v>3.4</c:v>
                </c:pt>
                <c:pt idx="3">
                  <c:v>50.2</c:v>
                </c:pt>
                <c:pt idx="5">
                  <c:v>15.4</c:v>
                </c:pt>
                <c:pt idx="6">
                  <c:v>1.2</c:v>
                </c:pt>
                <c:pt idx="8">
                  <c:v>0.4</c:v>
                </c:pt>
              </c:numCache>
            </c:numRef>
          </c:val>
          <c:extLst>
            <c:ext xmlns:c16="http://schemas.microsoft.com/office/drawing/2014/chart" uri="{C3380CC4-5D6E-409C-BE32-E72D297353CC}">
              <c16:uniqueId val="{00000001-19C1-49A9-9767-2FA51E11961E}"/>
            </c:ext>
          </c:extLst>
        </c:ser>
        <c:ser>
          <c:idx val="2"/>
          <c:order val="2"/>
          <c:tx>
            <c:strRef>
              <c:f>List1!$D$1</c:f>
              <c:strCache>
                <c:ptCount val="1"/>
                <c:pt idx="0">
                  <c:v>18.11.-29.11. (12 dní)</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D$2:$D$10</c:f>
              <c:numCache>
                <c:formatCode>General</c:formatCode>
                <c:ptCount val="9"/>
                <c:pt idx="0">
                  <c:v>116.66670000000001</c:v>
                </c:pt>
                <c:pt idx="1">
                  <c:v>1.1666669999999999</c:v>
                </c:pt>
                <c:pt idx="3">
                  <c:v>20.41667</c:v>
                </c:pt>
              </c:numCache>
            </c:numRef>
          </c:val>
          <c:extLst>
            <c:ext xmlns:c16="http://schemas.microsoft.com/office/drawing/2014/chart" uri="{C3380CC4-5D6E-409C-BE32-E72D297353CC}">
              <c16:uniqueId val="{00000002-19C1-49A9-9767-2FA51E11961E}"/>
            </c:ext>
          </c:extLst>
        </c:ser>
        <c:ser>
          <c:idx val="3"/>
          <c:order val="3"/>
          <c:tx>
            <c:strRef>
              <c:f>List1!$E$1</c:f>
              <c:strCache>
                <c:ptCount val="1"/>
                <c:pt idx="0">
                  <c:v>30.11.-20.12. (21 dní)</c:v>
                </c:pt>
              </c:strCache>
            </c:strRef>
          </c:tx>
          <c:spPr>
            <a:solidFill>
              <a:srgbClr val="00B0F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E$2:$E$10</c:f>
              <c:numCache>
                <c:formatCode>General</c:formatCode>
                <c:ptCount val="9"/>
                <c:pt idx="0">
                  <c:v>141.66669999999999</c:v>
                </c:pt>
                <c:pt idx="1">
                  <c:v>17.66667</c:v>
                </c:pt>
                <c:pt idx="2">
                  <c:v>1.6666669999999999</c:v>
                </c:pt>
                <c:pt idx="3">
                  <c:v>128.66669999999999</c:v>
                </c:pt>
                <c:pt idx="4">
                  <c:v>1.3333330000000001</c:v>
                </c:pt>
                <c:pt idx="5">
                  <c:v>11.66667</c:v>
                </c:pt>
                <c:pt idx="6">
                  <c:v>11.33333</c:v>
                </c:pt>
              </c:numCache>
            </c:numRef>
          </c:val>
          <c:extLst>
            <c:ext xmlns:c16="http://schemas.microsoft.com/office/drawing/2014/chart" uri="{C3380CC4-5D6E-409C-BE32-E72D297353CC}">
              <c16:uniqueId val="{00000000-59AE-4087-927A-1C88DAB2F709}"/>
            </c:ext>
          </c:extLst>
        </c:ser>
        <c:ser>
          <c:idx val="4"/>
          <c:order val="4"/>
          <c:tx>
            <c:strRef>
              <c:f>List1!$F$1</c:f>
              <c:strCache>
                <c:ptCount val="1"/>
                <c:pt idx="0">
                  <c:v>21.12.-28.2. (70 dní)</c:v>
                </c:pt>
              </c:strCache>
            </c:strRef>
          </c:tx>
          <c:spPr>
            <a:solidFill>
              <a:srgbClr val="0070C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F$2:$F$10</c:f>
              <c:numCache>
                <c:formatCode>General</c:formatCode>
                <c:ptCount val="9"/>
                <c:pt idx="0">
                  <c:v>318</c:v>
                </c:pt>
                <c:pt idx="1">
                  <c:v>65.599999999999994</c:v>
                </c:pt>
                <c:pt idx="2">
                  <c:v>2.6</c:v>
                </c:pt>
                <c:pt idx="3">
                  <c:v>120.7</c:v>
                </c:pt>
                <c:pt idx="4">
                  <c:v>1.8</c:v>
                </c:pt>
                <c:pt idx="5">
                  <c:v>9.3000000000000007</c:v>
                </c:pt>
                <c:pt idx="6">
                  <c:v>2.2000000000000002</c:v>
                </c:pt>
                <c:pt idx="8">
                  <c:v>8.1</c:v>
                </c:pt>
              </c:numCache>
            </c:numRef>
          </c:val>
          <c:extLst>
            <c:ext xmlns:c16="http://schemas.microsoft.com/office/drawing/2014/chart" uri="{C3380CC4-5D6E-409C-BE32-E72D297353CC}">
              <c16:uniqueId val="{00000000-E614-49B6-A490-4FB270819D4D}"/>
            </c:ext>
          </c:extLst>
        </c:ser>
        <c:ser>
          <c:idx val="5"/>
          <c:order val="5"/>
          <c:tx>
            <c:strRef>
              <c:f>List1!$G$1</c:f>
              <c:strCache>
                <c:ptCount val="1"/>
                <c:pt idx="0">
                  <c:v>1.3.-11.4. (42 dní)</c:v>
                </c:pt>
              </c:strCache>
            </c:strRef>
          </c:tx>
          <c:spPr>
            <a:solidFill>
              <a:srgbClr val="7030A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G$2:$G$10</c:f>
              <c:numCache>
                <c:formatCode>General</c:formatCode>
                <c:ptCount val="9"/>
                <c:pt idx="0">
                  <c:v>116.83329999999999</c:v>
                </c:pt>
                <c:pt idx="1">
                  <c:v>15.66667</c:v>
                </c:pt>
                <c:pt idx="3">
                  <c:v>44</c:v>
                </c:pt>
                <c:pt idx="8">
                  <c:v>1</c:v>
                </c:pt>
              </c:numCache>
            </c:numRef>
          </c:val>
          <c:extLst>
            <c:ext xmlns:c16="http://schemas.microsoft.com/office/drawing/2014/chart" uri="{C3380CC4-5D6E-409C-BE32-E72D297353CC}">
              <c16:uniqueId val="{00000000-401B-46E9-B2E3-F2A5913A5CC1}"/>
            </c:ext>
          </c:extLst>
        </c:ser>
        <c:ser>
          <c:idx val="6"/>
          <c:order val="6"/>
          <c:tx>
            <c:strRef>
              <c:f>List1!$H$1</c:f>
              <c:strCache>
                <c:ptCount val="1"/>
                <c:pt idx="0">
                  <c:v>12.4.-4.6. (54 dní)</c:v>
                </c:pt>
              </c:strCache>
            </c:strRef>
          </c:tx>
          <c:spPr>
            <a:solidFill>
              <a:srgbClr val="FFC00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H$2:$H$10</c:f>
              <c:numCache>
                <c:formatCode>General</c:formatCode>
                <c:ptCount val="9"/>
                <c:pt idx="0">
                  <c:v>43.55556</c:v>
                </c:pt>
                <c:pt idx="1">
                  <c:v>14.259259999999999</c:v>
                </c:pt>
                <c:pt idx="3">
                  <c:v>51.074069999999999</c:v>
                </c:pt>
                <c:pt idx="4">
                  <c:v>1.2962959999999999</c:v>
                </c:pt>
                <c:pt idx="5">
                  <c:v>3.8888889999999998</c:v>
                </c:pt>
                <c:pt idx="7">
                  <c:v>0.38888899999999998</c:v>
                </c:pt>
              </c:numCache>
            </c:numRef>
          </c:val>
          <c:extLst>
            <c:ext xmlns:c16="http://schemas.microsoft.com/office/drawing/2014/chart" uri="{C3380CC4-5D6E-409C-BE32-E72D297353CC}">
              <c16:uniqueId val="{00000001-963D-4742-AAA2-9962D2C56A6C}"/>
            </c:ext>
          </c:extLst>
        </c:ser>
        <c:dLbls>
          <c:showLegendKey val="0"/>
          <c:showVal val="0"/>
          <c:showCatName val="0"/>
          <c:showSerName val="0"/>
          <c:showPercent val="0"/>
          <c:showBubbleSize val="0"/>
        </c:dLbls>
        <c:gapWidth val="50"/>
        <c:axId val="320460415"/>
        <c:axId val="315793487"/>
      </c:barChart>
      <c:catAx>
        <c:axId val="320460415"/>
        <c:scaling>
          <c:orientation val="maxMin"/>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cs-CZ"/>
          </a:p>
        </c:txPr>
        <c:crossAx val="315793487"/>
        <c:crosses val="autoZero"/>
        <c:auto val="1"/>
        <c:lblAlgn val="ctr"/>
        <c:lblOffset val="100"/>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cs-CZ"/>
          </a:p>
        </c:txPr>
        <c:crossAx val="320460415"/>
        <c:crosses val="autoZero"/>
        <c:crossBetween val="between"/>
      </c:valAx>
      <c:spPr>
        <a:noFill/>
        <a:ln>
          <a:noFill/>
        </a:ln>
        <a:effectLst/>
      </c:spPr>
    </c:plotArea>
    <c:legend>
      <c:legendPos val="r"/>
      <c:layout>
        <c:manualLayout>
          <c:xMode val="edge"/>
          <c:yMode val="edge"/>
          <c:x val="0.66120874820318798"/>
          <c:y val="0.67431405110035347"/>
          <c:w val="0.31696985540274686"/>
          <c:h val="0.29680887428442737"/>
        </c:manualLayout>
      </c:layout>
      <c:overlay val="0"/>
      <c:spPr>
        <a:solidFill>
          <a:schemeClr val="bg1"/>
        </a:solidFill>
        <a:ln>
          <a:solidFill>
            <a:schemeClr val="tx1"/>
          </a:solid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200259161526445E-2"/>
          <c:y val="4.7634439213742094E-2"/>
          <c:w val="0.94059218467024752"/>
          <c:h val="0.77867198701976614"/>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BG$1</c:f>
              <c:strCache>
                <c:ptCount val="58"/>
                <c:pt idx="0">
                  <c:v>27.4.–3.5.</c:v>
                </c:pt>
                <c:pt idx="1">
                  <c:v>4.5.–10.5.</c:v>
                </c:pt>
                <c:pt idx="2">
                  <c:v>11.5.–17.5.</c:v>
                </c:pt>
                <c:pt idx="3">
                  <c:v>18.5.–24.5.</c:v>
                </c:pt>
                <c:pt idx="4">
                  <c:v>25.5.–31.5.</c:v>
                </c:pt>
                <c:pt idx="5">
                  <c:v>1.6.–7.6.</c:v>
                </c:pt>
                <c:pt idx="6">
                  <c:v>8.6.–14.6.</c:v>
                </c:pt>
                <c:pt idx="7">
                  <c:v>15.6.–21.6.</c:v>
                </c:pt>
                <c:pt idx="8">
                  <c:v>22.6.–28.6.</c:v>
                </c:pt>
                <c:pt idx="9">
                  <c:v>29.6.–5.7.</c:v>
                </c:pt>
                <c:pt idx="10">
                  <c:v>6.7.–12.7.</c:v>
                </c:pt>
                <c:pt idx="11">
                  <c:v>13.7.–19.7.</c:v>
                </c:pt>
                <c:pt idx="12">
                  <c:v>20.7.–26.7.</c:v>
                </c:pt>
                <c:pt idx="13">
                  <c:v>27.7.–2.8.</c:v>
                </c:pt>
                <c:pt idx="14">
                  <c:v>3.8.–9.8.</c:v>
                </c:pt>
                <c:pt idx="15">
                  <c:v>10.8.–16.8.</c:v>
                </c:pt>
                <c:pt idx="16">
                  <c:v>17.8.–23.8.</c:v>
                </c:pt>
                <c:pt idx="17">
                  <c:v>24.8.–30.8.</c:v>
                </c:pt>
                <c:pt idx="18">
                  <c:v>31.8.–6.9.</c:v>
                </c:pt>
                <c:pt idx="19">
                  <c:v>7.9.–13.9.</c:v>
                </c:pt>
                <c:pt idx="20">
                  <c:v>14.9.–20.9.</c:v>
                </c:pt>
                <c:pt idx="21">
                  <c:v>21.9.–27.9.</c:v>
                </c:pt>
                <c:pt idx="22">
                  <c:v>28.9.–4.10.</c:v>
                </c:pt>
                <c:pt idx="23">
                  <c:v>5.10.–11.10.</c:v>
                </c:pt>
                <c:pt idx="24">
                  <c:v>12.10.–18.10.</c:v>
                </c:pt>
                <c:pt idx="25">
                  <c:v>19.10.–25.10.</c:v>
                </c:pt>
                <c:pt idx="26">
                  <c:v>26.10.–1.11.</c:v>
                </c:pt>
                <c:pt idx="27">
                  <c:v>2.11.–8.11.</c:v>
                </c:pt>
                <c:pt idx="28">
                  <c:v>9.11.–15.11.</c:v>
                </c:pt>
                <c:pt idx="29">
                  <c:v>16.11.–22.11.</c:v>
                </c:pt>
                <c:pt idx="30">
                  <c:v>23.11.–29.11.</c:v>
                </c:pt>
                <c:pt idx="31">
                  <c:v>30.11.–6.12.</c:v>
                </c:pt>
                <c:pt idx="32">
                  <c:v>7.12.–13.12.</c:v>
                </c:pt>
                <c:pt idx="33">
                  <c:v>14.12.–20.12.</c:v>
                </c:pt>
                <c:pt idx="34">
                  <c:v>21.12.–27.12.</c:v>
                </c:pt>
                <c:pt idx="35">
                  <c:v>28.12.–3.1.</c:v>
                </c:pt>
                <c:pt idx="36">
                  <c:v>4.1.–10.1.</c:v>
                </c:pt>
                <c:pt idx="37">
                  <c:v>11.1.–17.1.</c:v>
                </c:pt>
                <c:pt idx="38">
                  <c:v>18.1.–24.1.</c:v>
                </c:pt>
                <c:pt idx="39">
                  <c:v>25.1.–31.1.</c:v>
                </c:pt>
                <c:pt idx="40">
                  <c:v>1.2.–7.2.</c:v>
                </c:pt>
                <c:pt idx="41">
                  <c:v>8.2.–14.2.</c:v>
                </c:pt>
                <c:pt idx="42">
                  <c:v>15.2.–21.2.</c:v>
                </c:pt>
                <c:pt idx="43">
                  <c:v>22.2.–28.2.</c:v>
                </c:pt>
                <c:pt idx="44">
                  <c:v>1.3.–7.3.</c:v>
                </c:pt>
                <c:pt idx="45">
                  <c:v>8.3.–14.3.</c:v>
                </c:pt>
                <c:pt idx="46">
                  <c:v>15.3.–21.3.</c:v>
                </c:pt>
                <c:pt idx="47">
                  <c:v>22.3.–28.3.</c:v>
                </c:pt>
                <c:pt idx="48">
                  <c:v>29.3.–4.4.</c:v>
                </c:pt>
                <c:pt idx="49">
                  <c:v>5.4.–11.4.</c:v>
                </c:pt>
                <c:pt idx="50">
                  <c:v>12.4.–18.4.</c:v>
                </c:pt>
                <c:pt idx="51">
                  <c:v>19.4.–25.4.</c:v>
                </c:pt>
                <c:pt idx="52">
                  <c:v>26.4.–2.5.</c:v>
                </c:pt>
                <c:pt idx="53">
                  <c:v>3.5.–9.5.</c:v>
                </c:pt>
                <c:pt idx="54">
                  <c:v>10.5.–16.5.</c:v>
                </c:pt>
                <c:pt idx="55">
                  <c:v>17.5.–23.5.</c:v>
                </c:pt>
                <c:pt idx="56">
                  <c:v>24.5.–30.5.</c:v>
                </c:pt>
                <c:pt idx="57">
                  <c:v>31.5.–6.6.</c:v>
                </c:pt>
              </c:strCache>
            </c:strRef>
          </c:cat>
          <c:val>
            <c:numRef>
              <c:f>List1!$B$2:$BG$2</c:f>
              <c:numCache>
                <c:formatCode>General</c:formatCode>
                <c:ptCount val="58"/>
                <c:pt idx="0">
                  <c:v>0</c:v>
                </c:pt>
                <c:pt idx="1">
                  <c:v>0</c:v>
                </c:pt>
                <c:pt idx="2">
                  <c:v>0</c:v>
                </c:pt>
                <c:pt idx="3">
                  <c:v>2</c:v>
                </c:pt>
                <c:pt idx="4">
                  <c:v>0</c:v>
                </c:pt>
                <c:pt idx="5">
                  <c:v>8</c:v>
                </c:pt>
                <c:pt idx="6">
                  <c:v>8</c:v>
                </c:pt>
                <c:pt idx="7">
                  <c:v>3</c:v>
                </c:pt>
                <c:pt idx="8">
                  <c:v>26</c:v>
                </c:pt>
                <c:pt idx="9">
                  <c:v>2</c:v>
                </c:pt>
                <c:pt idx="10">
                  <c:v>0</c:v>
                </c:pt>
                <c:pt idx="11">
                  <c:v>0</c:v>
                </c:pt>
                <c:pt idx="12">
                  <c:v>0</c:v>
                </c:pt>
                <c:pt idx="13">
                  <c:v>0</c:v>
                </c:pt>
                <c:pt idx="14">
                  <c:v>1</c:v>
                </c:pt>
                <c:pt idx="15">
                  <c:v>1</c:v>
                </c:pt>
                <c:pt idx="16">
                  <c:v>0</c:v>
                </c:pt>
                <c:pt idx="17">
                  <c:v>19</c:v>
                </c:pt>
                <c:pt idx="18">
                  <c:v>135</c:v>
                </c:pt>
                <c:pt idx="19">
                  <c:v>800</c:v>
                </c:pt>
                <c:pt idx="20">
                  <c:v>711</c:v>
                </c:pt>
                <c:pt idx="21">
                  <c:v>363</c:v>
                </c:pt>
                <c:pt idx="22">
                  <c:v>411</c:v>
                </c:pt>
                <c:pt idx="23">
                  <c:v>423</c:v>
                </c:pt>
                <c:pt idx="24">
                  <c:v>120</c:v>
                </c:pt>
                <c:pt idx="25">
                  <c:v>352</c:v>
                </c:pt>
                <c:pt idx="26">
                  <c:v>263</c:v>
                </c:pt>
                <c:pt idx="27">
                  <c:v>97</c:v>
                </c:pt>
                <c:pt idx="28">
                  <c:v>88</c:v>
                </c:pt>
                <c:pt idx="29">
                  <c:v>145</c:v>
                </c:pt>
                <c:pt idx="30">
                  <c:v>96</c:v>
                </c:pt>
                <c:pt idx="31">
                  <c:v>137</c:v>
                </c:pt>
                <c:pt idx="32">
                  <c:v>482</c:v>
                </c:pt>
                <c:pt idx="33">
                  <c:v>323</c:v>
                </c:pt>
                <c:pt idx="34">
                  <c:v>123</c:v>
                </c:pt>
                <c:pt idx="35">
                  <c:v>242</c:v>
                </c:pt>
                <c:pt idx="36">
                  <c:v>24</c:v>
                </c:pt>
                <c:pt idx="37">
                  <c:v>336</c:v>
                </c:pt>
                <c:pt idx="38">
                  <c:v>334</c:v>
                </c:pt>
                <c:pt idx="39">
                  <c:v>421</c:v>
                </c:pt>
                <c:pt idx="40">
                  <c:v>359</c:v>
                </c:pt>
                <c:pt idx="41">
                  <c:v>723</c:v>
                </c:pt>
                <c:pt idx="42">
                  <c:v>1528</c:v>
                </c:pt>
                <c:pt idx="43">
                  <c:v>1193</c:v>
                </c:pt>
                <c:pt idx="44">
                  <c:v>657</c:v>
                </c:pt>
                <c:pt idx="45">
                  <c:v>154</c:v>
                </c:pt>
                <c:pt idx="46">
                  <c:v>196</c:v>
                </c:pt>
                <c:pt idx="47">
                  <c:v>19</c:v>
                </c:pt>
                <c:pt idx="48">
                  <c:v>30</c:v>
                </c:pt>
                <c:pt idx="49">
                  <c:v>9</c:v>
                </c:pt>
                <c:pt idx="50">
                  <c:v>28</c:v>
                </c:pt>
                <c:pt idx="51">
                  <c:v>134</c:v>
                </c:pt>
                <c:pt idx="52">
                  <c:v>162</c:v>
                </c:pt>
                <c:pt idx="53">
                  <c:v>132</c:v>
                </c:pt>
                <c:pt idx="54">
                  <c:v>88</c:v>
                </c:pt>
                <c:pt idx="55">
                  <c:v>116</c:v>
                </c:pt>
                <c:pt idx="56">
                  <c:v>137</c:v>
                </c:pt>
                <c:pt idx="57">
                  <c:v>89</c:v>
                </c:pt>
              </c:numCache>
            </c:numRef>
          </c:val>
          <c:extLst>
            <c:ext xmlns:c16="http://schemas.microsoft.com/office/drawing/2014/chart" uri="{C3380CC4-5D6E-409C-BE32-E72D297353CC}">
              <c16:uniqueId val="{00000000-007F-49E9-803B-1728AA69F504}"/>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5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232529527559053E-2"/>
          <c:y val="4.4552030627516157E-2"/>
          <c:w val="0.85003592519685056"/>
          <c:h val="0.78516263908332484"/>
        </c:manualLayout>
      </c:layout>
      <c:barChart>
        <c:barDir val="col"/>
        <c:grouping val="stacked"/>
        <c:varyColors val="0"/>
        <c:ser>
          <c:idx val="0"/>
          <c:order val="0"/>
          <c:tx>
            <c:strRef>
              <c:f>List1!$A$2</c:f>
              <c:strCache>
                <c:ptCount val="1"/>
                <c:pt idx="0">
                  <c:v>do 29 let</c:v>
                </c:pt>
              </c:strCache>
            </c:strRef>
          </c:tx>
          <c:spPr>
            <a:solidFill>
              <a:srgbClr val="0070C0"/>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32</c:v>
                </c:pt>
                <c:pt idx="1">
                  <c:v>73</c:v>
                </c:pt>
                <c:pt idx="2">
                  <c:v>91</c:v>
                </c:pt>
                <c:pt idx="3">
                  <c:v>98</c:v>
                </c:pt>
                <c:pt idx="4">
                  <c:v>98</c:v>
                </c:pt>
                <c:pt idx="5">
                  <c:v>210</c:v>
                </c:pt>
                <c:pt idx="6">
                  <c:v>301</c:v>
                </c:pt>
                <c:pt idx="7">
                  <c:v>402</c:v>
                </c:pt>
                <c:pt idx="8">
                  <c:v>278</c:v>
                </c:pt>
                <c:pt idx="9">
                  <c:v>219</c:v>
                </c:pt>
                <c:pt idx="10">
                  <c:v>136</c:v>
                </c:pt>
                <c:pt idx="11">
                  <c:v>107</c:v>
                </c:pt>
                <c:pt idx="12">
                  <c:v>79</c:v>
                </c:pt>
                <c:pt idx="13">
                  <c:v>126</c:v>
                </c:pt>
                <c:pt idx="14">
                  <c:v>161</c:v>
                </c:pt>
                <c:pt idx="15">
                  <c:v>181</c:v>
                </c:pt>
                <c:pt idx="16">
                  <c:v>178</c:v>
                </c:pt>
                <c:pt idx="17">
                  <c:v>214</c:v>
                </c:pt>
                <c:pt idx="18">
                  <c:v>302</c:v>
                </c:pt>
                <c:pt idx="19">
                  <c:v>164</c:v>
                </c:pt>
                <c:pt idx="20">
                  <c:v>143</c:v>
                </c:pt>
                <c:pt idx="21">
                  <c:v>164</c:v>
                </c:pt>
                <c:pt idx="22">
                  <c:v>154</c:v>
                </c:pt>
                <c:pt idx="23">
                  <c:v>194</c:v>
                </c:pt>
                <c:pt idx="24">
                  <c:v>200</c:v>
                </c:pt>
                <c:pt idx="25">
                  <c:v>269</c:v>
                </c:pt>
                <c:pt idx="26">
                  <c:v>223</c:v>
                </c:pt>
                <c:pt idx="27">
                  <c:v>154</c:v>
                </c:pt>
                <c:pt idx="28">
                  <c:v>111</c:v>
                </c:pt>
                <c:pt idx="29">
                  <c:v>87</c:v>
                </c:pt>
                <c:pt idx="30">
                  <c:v>55</c:v>
                </c:pt>
                <c:pt idx="31">
                  <c:v>68</c:v>
                </c:pt>
                <c:pt idx="32">
                  <c:v>37</c:v>
                </c:pt>
                <c:pt idx="33">
                  <c:v>39</c:v>
                </c:pt>
                <c:pt idx="34">
                  <c:v>19</c:v>
                </c:pt>
                <c:pt idx="35">
                  <c:v>23</c:v>
                </c:pt>
                <c:pt idx="36">
                  <c:v>12</c:v>
                </c:pt>
                <c:pt idx="37">
                  <c:v>11</c:v>
                </c:pt>
                <c:pt idx="38">
                  <c:v>8</c:v>
                </c:pt>
                <c:pt idx="39">
                  <c:v>2</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30-49 let</c:v>
                </c:pt>
              </c:strCache>
            </c:strRef>
          </c:tx>
          <c:spPr>
            <a:solidFill>
              <a:srgbClr val="00B0F0"/>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3:$AO$3</c:f>
              <c:numCache>
                <c:formatCode>General</c:formatCode>
                <c:ptCount val="40"/>
                <c:pt idx="0">
                  <c:v>59</c:v>
                </c:pt>
                <c:pt idx="1">
                  <c:v>192</c:v>
                </c:pt>
                <c:pt idx="2">
                  <c:v>401</c:v>
                </c:pt>
                <c:pt idx="3">
                  <c:v>425</c:v>
                </c:pt>
                <c:pt idx="4">
                  <c:v>481</c:v>
                </c:pt>
                <c:pt idx="5">
                  <c:v>875</c:v>
                </c:pt>
                <c:pt idx="6">
                  <c:v>1354</c:v>
                </c:pt>
                <c:pt idx="7">
                  <c:v>1695</c:v>
                </c:pt>
                <c:pt idx="8">
                  <c:v>1375</c:v>
                </c:pt>
                <c:pt idx="9">
                  <c:v>905</c:v>
                </c:pt>
                <c:pt idx="10">
                  <c:v>487</c:v>
                </c:pt>
                <c:pt idx="11">
                  <c:v>417</c:v>
                </c:pt>
                <c:pt idx="12">
                  <c:v>362</c:v>
                </c:pt>
                <c:pt idx="13">
                  <c:v>487</c:v>
                </c:pt>
                <c:pt idx="14">
                  <c:v>788</c:v>
                </c:pt>
                <c:pt idx="15">
                  <c:v>983</c:v>
                </c:pt>
                <c:pt idx="16">
                  <c:v>848</c:v>
                </c:pt>
                <c:pt idx="17">
                  <c:v>1057</c:v>
                </c:pt>
                <c:pt idx="18">
                  <c:v>1270</c:v>
                </c:pt>
                <c:pt idx="19">
                  <c:v>905</c:v>
                </c:pt>
                <c:pt idx="20">
                  <c:v>747</c:v>
                </c:pt>
                <c:pt idx="21">
                  <c:v>764</c:v>
                </c:pt>
                <c:pt idx="22">
                  <c:v>789</c:v>
                </c:pt>
                <c:pt idx="23">
                  <c:v>861</c:v>
                </c:pt>
                <c:pt idx="24">
                  <c:v>1104</c:v>
                </c:pt>
                <c:pt idx="25">
                  <c:v>1289</c:v>
                </c:pt>
                <c:pt idx="26">
                  <c:v>1111</c:v>
                </c:pt>
                <c:pt idx="27">
                  <c:v>750</c:v>
                </c:pt>
                <c:pt idx="28">
                  <c:v>563</c:v>
                </c:pt>
                <c:pt idx="29">
                  <c:v>403</c:v>
                </c:pt>
                <c:pt idx="30">
                  <c:v>281</c:v>
                </c:pt>
                <c:pt idx="31">
                  <c:v>237</c:v>
                </c:pt>
                <c:pt idx="32">
                  <c:v>179</c:v>
                </c:pt>
                <c:pt idx="33">
                  <c:v>155</c:v>
                </c:pt>
                <c:pt idx="34">
                  <c:v>121</c:v>
                </c:pt>
                <c:pt idx="35">
                  <c:v>71</c:v>
                </c:pt>
                <c:pt idx="36">
                  <c:v>66</c:v>
                </c:pt>
                <c:pt idx="37">
                  <c:v>39</c:v>
                </c:pt>
                <c:pt idx="38">
                  <c:v>31</c:v>
                </c:pt>
                <c:pt idx="39">
                  <c:v>11</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50-64 let</c:v>
                </c:pt>
              </c:strCache>
            </c:strRef>
          </c:tx>
          <c:spPr>
            <a:solidFill>
              <a:srgbClr val="FFC000"/>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4:$AO$4</c:f>
              <c:numCache>
                <c:formatCode>General</c:formatCode>
                <c:ptCount val="40"/>
                <c:pt idx="0">
                  <c:v>48</c:v>
                </c:pt>
                <c:pt idx="1">
                  <c:v>120</c:v>
                </c:pt>
                <c:pt idx="2">
                  <c:v>218</c:v>
                </c:pt>
                <c:pt idx="3">
                  <c:v>264</c:v>
                </c:pt>
                <c:pt idx="4">
                  <c:v>320</c:v>
                </c:pt>
                <c:pt idx="5">
                  <c:v>580</c:v>
                </c:pt>
                <c:pt idx="6">
                  <c:v>917</c:v>
                </c:pt>
                <c:pt idx="7">
                  <c:v>1175</c:v>
                </c:pt>
                <c:pt idx="8">
                  <c:v>993</c:v>
                </c:pt>
                <c:pt idx="9">
                  <c:v>748</c:v>
                </c:pt>
                <c:pt idx="10">
                  <c:v>422</c:v>
                </c:pt>
                <c:pt idx="11">
                  <c:v>320</c:v>
                </c:pt>
                <c:pt idx="12">
                  <c:v>302</c:v>
                </c:pt>
                <c:pt idx="13">
                  <c:v>361</c:v>
                </c:pt>
                <c:pt idx="14">
                  <c:v>545</c:v>
                </c:pt>
                <c:pt idx="15">
                  <c:v>730</c:v>
                </c:pt>
                <c:pt idx="16">
                  <c:v>552</c:v>
                </c:pt>
                <c:pt idx="17">
                  <c:v>777</c:v>
                </c:pt>
                <c:pt idx="18">
                  <c:v>950</c:v>
                </c:pt>
                <c:pt idx="19">
                  <c:v>713</c:v>
                </c:pt>
                <c:pt idx="20">
                  <c:v>617</c:v>
                </c:pt>
                <c:pt idx="21">
                  <c:v>601</c:v>
                </c:pt>
                <c:pt idx="22">
                  <c:v>618</c:v>
                </c:pt>
                <c:pt idx="23">
                  <c:v>629</c:v>
                </c:pt>
                <c:pt idx="24">
                  <c:v>822</c:v>
                </c:pt>
                <c:pt idx="25">
                  <c:v>885</c:v>
                </c:pt>
                <c:pt idx="26">
                  <c:v>825</c:v>
                </c:pt>
                <c:pt idx="27">
                  <c:v>596</c:v>
                </c:pt>
                <c:pt idx="28">
                  <c:v>489</c:v>
                </c:pt>
                <c:pt idx="29">
                  <c:v>313</c:v>
                </c:pt>
                <c:pt idx="30">
                  <c:v>212</c:v>
                </c:pt>
                <c:pt idx="31">
                  <c:v>156</c:v>
                </c:pt>
                <c:pt idx="32">
                  <c:v>106</c:v>
                </c:pt>
                <c:pt idx="33">
                  <c:v>80</c:v>
                </c:pt>
                <c:pt idx="34">
                  <c:v>55</c:v>
                </c:pt>
                <c:pt idx="35">
                  <c:v>45</c:v>
                </c:pt>
                <c:pt idx="36">
                  <c:v>23</c:v>
                </c:pt>
                <c:pt idx="37">
                  <c:v>19</c:v>
                </c:pt>
                <c:pt idx="38">
                  <c:v>17</c:v>
                </c:pt>
                <c:pt idx="39">
                  <c:v>6</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65+ let</c:v>
                </c:pt>
              </c:strCache>
            </c:strRef>
          </c:tx>
          <c:spPr>
            <a:solidFill>
              <a:schemeClr val="bg1">
                <a:lumMod val="50000"/>
              </a:schemeClr>
            </a:solidFill>
            <a:ln>
              <a:noFill/>
            </a:ln>
            <a:effectLst/>
          </c:spPr>
          <c:invertIfNegative val="0"/>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5:$AO$5</c:f>
              <c:numCache>
                <c:formatCode>General</c:formatCode>
                <c:ptCount val="40"/>
                <c:pt idx="0">
                  <c:v>4</c:v>
                </c:pt>
                <c:pt idx="1">
                  <c:v>9</c:v>
                </c:pt>
                <c:pt idx="2">
                  <c:v>15</c:v>
                </c:pt>
                <c:pt idx="3">
                  <c:v>16</c:v>
                </c:pt>
                <c:pt idx="4">
                  <c:v>31</c:v>
                </c:pt>
                <c:pt idx="5">
                  <c:v>25</c:v>
                </c:pt>
                <c:pt idx="6">
                  <c:v>44</c:v>
                </c:pt>
                <c:pt idx="7">
                  <c:v>73</c:v>
                </c:pt>
                <c:pt idx="8">
                  <c:v>50</c:v>
                </c:pt>
                <c:pt idx="9">
                  <c:v>46</c:v>
                </c:pt>
                <c:pt idx="10">
                  <c:v>31</c:v>
                </c:pt>
                <c:pt idx="11">
                  <c:v>19</c:v>
                </c:pt>
                <c:pt idx="12">
                  <c:v>13</c:v>
                </c:pt>
                <c:pt idx="13">
                  <c:v>14</c:v>
                </c:pt>
                <c:pt idx="14">
                  <c:v>38</c:v>
                </c:pt>
                <c:pt idx="15">
                  <c:v>45</c:v>
                </c:pt>
                <c:pt idx="16">
                  <c:v>42</c:v>
                </c:pt>
                <c:pt idx="17">
                  <c:v>40</c:v>
                </c:pt>
                <c:pt idx="18">
                  <c:v>76</c:v>
                </c:pt>
                <c:pt idx="19">
                  <c:v>72</c:v>
                </c:pt>
                <c:pt idx="20">
                  <c:v>52</c:v>
                </c:pt>
                <c:pt idx="21">
                  <c:v>57</c:v>
                </c:pt>
                <c:pt idx="22">
                  <c:v>58</c:v>
                </c:pt>
                <c:pt idx="23">
                  <c:v>60</c:v>
                </c:pt>
                <c:pt idx="24">
                  <c:v>81</c:v>
                </c:pt>
                <c:pt idx="25">
                  <c:v>82</c:v>
                </c:pt>
                <c:pt idx="26">
                  <c:v>90</c:v>
                </c:pt>
                <c:pt idx="27">
                  <c:v>81</c:v>
                </c:pt>
                <c:pt idx="28">
                  <c:v>52</c:v>
                </c:pt>
                <c:pt idx="29">
                  <c:v>33</c:v>
                </c:pt>
                <c:pt idx="30">
                  <c:v>21</c:v>
                </c:pt>
                <c:pt idx="31">
                  <c:v>18</c:v>
                </c:pt>
                <c:pt idx="32">
                  <c:v>4</c:v>
                </c:pt>
                <c:pt idx="33">
                  <c:v>4</c:v>
                </c:pt>
                <c:pt idx="34">
                  <c:v>5</c:v>
                </c:pt>
                <c:pt idx="35">
                  <c:v>2</c:v>
                </c:pt>
                <c:pt idx="36">
                  <c:v>4</c:v>
                </c:pt>
                <c:pt idx="37">
                  <c:v>1</c:v>
                </c:pt>
                <c:pt idx="38">
                  <c:v>1</c:v>
                </c:pt>
                <c:pt idx="39">
                  <c:v>1</c:v>
                </c:pt>
              </c:numCache>
            </c:numRef>
          </c:val>
          <c:extLst>
            <c:ext xmlns:c16="http://schemas.microsoft.com/office/drawing/2014/chart" uri="{C3380CC4-5D6E-409C-BE32-E72D297353CC}">
              <c16:uniqueId val="{00000003-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max val="35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w="25400">
          <a:noFill/>
        </a:ln>
        <a:effectLst/>
      </c:spPr>
    </c:plotArea>
    <c:legend>
      <c:legendPos val="r"/>
      <c:layout>
        <c:manualLayout>
          <c:xMode val="edge"/>
          <c:yMode val="edge"/>
          <c:x val="0.92305954724409445"/>
          <c:y val="0.30095349880620348"/>
          <c:w val="7.2578166010498685E-2"/>
          <c:h val="0.3452038671973604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06820313934102E-2"/>
          <c:y val="3.5150502573499692E-2"/>
          <c:w val="0.91908617082631139"/>
          <c:h val="0.81863016441745873"/>
        </c:manualLayout>
      </c:layout>
      <c:barChart>
        <c:barDir val="col"/>
        <c:grouping val="stacked"/>
        <c:varyColors val="0"/>
        <c:ser>
          <c:idx val="0"/>
          <c:order val="0"/>
          <c:tx>
            <c:strRef>
              <c:f>List1!$A$2</c:f>
              <c:strCache>
                <c:ptCount val="1"/>
                <c:pt idx="0">
                  <c:v>muži</c:v>
                </c:pt>
              </c:strCache>
            </c:strRef>
          </c:tx>
          <c:spPr>
            <a:solidFill>
              <a:srgbClr val="00B0F0"/>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2:$BE$2</c:f>
              <c:numCache>
                <c:formatCode>General</c:formatCode>
                <c:ptCount val="56"/>
                <c:pt idx="0">
                  <c:v>14</c:v>
                </c:pt>
                <c:pt idx="1">
                  <c:v>17</c:v>
                </c:pt>
                <c:pt idx="2">
                  <c:v>23</c:v>
                </c:pt>
                <c:pt idx="3">
                  <c:v>40</c:v>
                </c:pt>
                <c:pt idx="4">
                  <c:v>71</c:v>
                </c:pt>
                <c:pt idx="5">
                  <c:v>98</c:v>
                </c:pt>
                <c:pt idx="6">
                  <c:v>96</c:v>
                </c:pt>
                <c:pt idx="7">
                  <c:v>133</c:v>
                </c:pt>
                <c:pt idx="8">
                  <c:v>139</c:v>
                </c:pt>
                <c:pt idx="9">
                  <c:v>157</c:v>
                </c:pt>
                <c:pt idx="10">
                  <c:v>140</c:v>
                </c:pt>
                <c:pt idx="11">
                  <c:v>145</c:v>
                </c:pt>
                <c:pt idx="12">
                  <c:v>163</c:v>
                </c:pt>
                <c:pt idx="13">
                  <c:v>157</c:v>
                </c:pt>
                <c:pt idx="14">
                  <c:v>148</c:v>
                </c:pt>
                <c:pt idx="15">
                  <c:v>170</c:v>
                </c:pt>
                <c:pt idx="16">
                  <c:v>163</c:v>
                </c:pt>
                <c:pt idx="17">
                  <c:v>170</c:v>
                </c:pt>
                <c:pt idx="18">
                  <c:v>175</c:v>
                </c:pt>
                <c:pt idx="19">
                  <c:v>185</c:v>
                </c:pt>
                <c:pt idx="20">
                  <c:v>208</c:v>
                </c:pt>
                <c:pt idx="21">
                  <c:v>218</c:v>
                </c:pt>
                <c:pt idx="22">
                  <c:v>215</c:v>
                </c:pt>
                <c:pt idx="23">
                  <c:v>265</c:v>
                </c:pt>
                <c:pt idx="24">
                  <c:v>232</c:v>
                </c:pt>
                <c:pt idx="25">
                  <c:v>252</c:v>
                </c:pt>
                <c:pt idx="26">
                  <c:v>248</c:v>
                </c:pt>
                <c:pt idx="27">
                  <c:v>217</c:v>
                </c:pt>
                <c:pt idx="28">
                  <c:v>201</c:v>
                </c:pt>
                <c:pt idx="29">
                  <c:v>206</c:v>
                </c:pt>
                <c:pt idx="30">
                  <c:v>167</c:v>
                </c:pt>
                <c:pt idx="31">
                  <c:v>220</c:v>
                </c:pt>
                <c:pt idx="32">
                  <c:v>175</c:v>
                </c:pt>
                <c:pt idx="33">
                  <c:v>207</c:v>
                </c:pt>
                <c:pt idx="34">
                  <c:v>206</c:v>
                </c:pt>
                <c:pt idx="35">
                  <c:v>218</c:v>
                </c:pt>
                <c:pt idx="36">
                  <c:v>244</c:v>
                </c:pt>
                <c:pt idx="37">
                  <c:v>247</c:v>
                </c:pt>
                <c:pt idx="38">
                  <c:v>225</c:v>
                </c:pt>
                <c:pt idx="39">
                  <c:v>227</c:v>
                </c:pt>
                <c:pt idx="40">
                  <c:v>209</c:v>
                </c:pt>
                <c:pt idx="41">
                  <c:v>211</c:v>
                </c:pt>
                <c:pt idx="42">
                  <c:v>194</c:v>
                </c:pt>
                <c:pt idx="43">
                  <c:v>182</c:v>
                </c:pt>
                <c:pt idx="44">
                  <c:v>127</c:v>
                </c:pt>
                <c:pt idx="45">
                  <c:v>104</c:v>
                </c:pt>
                <c:pt idx="46">
                  <c:v>78</c:v>
                </c:pt>
                <c:pt idx="47">
                  <c:v>70</c:v>
                </c:pt>
                <c:pt idx="48">
                  <c:v>60</c:v>
                </c:pt>
                <c:pt idx="49">
                  <c:v>46</c:v>
                </c:pt>
                <c:pt idx="50">
                  <c:v>37</c:v>
                </c:pt>
                <c:pt idx="51">
                  <c:v>15</c:v>
                </c:pt>
                <c:pt idx="52">
                  <c:v>19</c:v>
                </c:pt>
                <c:pt idx="53">
                  <c:v>16</c:v>
                </c:pt>
                <c:pt idx="54">
                  <c:v>9</c:v>
                </c:pt>
                <c:pt idx="55">
                  <c:v>45</c:v>
                </c:pt>
              </c:numCache>
            </c:numRef>
          </c:val>
          <c:extLst>
            <c:ext xmlns:c16="http://schemas.microsoft.com/office/drawing/2014/chart" uri="{C3380CC4-5D6E-409C-BE32-E72D297353CC}">
              <c16:uniqueId val="{00000000-EA81-438A-B594-BEE7BE6D2367}"/>
            </c:ext>
          </c:extLst>
        </c:ser>
        <c:ser>
          <c:idx val="1"/>
          <c:order val="1"/>
          <c:tx>
            <c:strRef>
              <c:f>List1!$A$3</c:f>
              <c:strCache>
                <c:ptCount val="1"/>
                <c:pt idx="0">
                  <c:v>ženy</c:v>
                </c:pt>
              </c:strCache>
            </c:strRef>
          </c:tx>
          <c:spPr>
            <a:solidFill>
              <a:srgbClr val="FF99FF"/>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3:$BE$3</c:f>
              <c:numCache>
                <c:formatCode>General</c:formatCode>
                <c:ptCount val="56"/>
                <c:pt idx="0">
                  <c:v>162</c:v>
                </c:pt>
                <c:pt idx="1">
                  <c:v>226</c:v>
                </c:pt>
                <c:pt idx="2">
                  <c:v>342</c:v>
                </c:pt>
                <c:pt idx="3">
                  <c:v>423</c:v>
                </c:pt>
                <c:pt idx="4">
                  <c:v>508</c:v>
                </c:pt>
                <c:pt idx="5">
                  <c:v>538</c:v>
                </c:pt>
                <c:pt idx="6">
                  <c:v>626</c:v>
                </c:pt>
                <c:pt idx="7">
                  <c:v>620</c:v>
                </c:pt>
                <c:pt idx="8">
                  <c:v>654</c:v>
                </c:pt>
                <c:pt idx="9">
                  <c:v>596</c:v>
                </c:pt>
                <c:pt idx="10">
                  <c:v>566</c:v>
                </c:pt>
                <c:pt idx="11">
                  <c:v>578</c:v>
                </c:pt>
                <c:pt idx="12">
                  <c:v>540</c:v>
                </c:pt>
                <c:pt idx="13">
                  <c:v>625</c:v>
                </c:pt>
                <c:pt idx="14">
                  <c:v>681</c:v>
                </c:pt>
                <c:pt idx="15">
                  <c:v>749</c:v>
                </c:pt>
                <c:pt idx="16">
                  <c:v>908</c:v>
                </c:pt>
                <c:pt idx="17">
                  <c:v>885</c:v>
                </c:pt>
                <c:pt idx="18">
                  <c:v>990</c:v>
                </c:pt>
                <c:pt idx="19">
                  <c:v>1028</c:v>
                </c:pt>
                <c:pt idx="20">
                  <c:v>1128</c:v>
                </c:pt>
                <c:pt idx="21">
                  <c:v>1291</c:v>
                </c:pt>
                <c:pt idx="22">
                  <c:v>1384</c:v>
                </c:pt>
                <c:pt idx="23">
                  <c:v>1465</c:v>
                </c:pt>
                <c:pt idx="24">
                  <c:v>1435</c:v>
                </c:pt>
                <c:pt idx="25">
                  <c:v>1563</c:v>
                </c:pt>
                <c:pt idx="26">
                  <c:v>1512</c:v>
                </c:pt>
                <c:pt idx="27">
                  <c:v>1393</c:v>
                </c:pt>
                <c:pt idx="28">
                  <c:v>1324</c:v>
                </c:pt>
                <c:pt idx="29">
                  <c:v>1234</c:v>
                </c:pt>
                <c:pt idx="30">
                  <c:v>1194</c:v>
                </c:pt>
                <c:pt idx="31">
                  <c:v>1092</c:v>
                </c:pt>
                <c:pt idx="32">
                  <c:v>1125</c:v>
                </c:pt>
                <c:pt idx="33">
                  <c:v>1181</c:v>
                </c:pt>
                <c:pt idx="34">
                  <c:v>1206</c:v>
                </c:pt>
                <c:pt idx="35">
                  <c:v>1274</c:v>
                </c:pt>
                <c:pt idx="36">
                  <c:v>1366</c:v>
                </c:pt>
                <c:pt idx="37">
                  <c:v>1341</c:v>
                </c:pt>
                <c:pt idx="38">
                  <c:v>1212</c:v>
                </c:pt>
                <c:pt idx="39">
                  <c:v>1170</c:v>
                </c:pt>
                <c:pt idx="40">
                  <c:v>1052</c:v>
                </c:pt>
                <c:pt idx="41">
                  <c:v>832</c:v>
                </c:pt>
                <c:pt idx="42">
                  <c:v>579</c:v>
                </c:pt>
                <c:pt idx="43">
                  <c:v>384</c:v>
                </c:pt>
                <c:pt idx="44">
                  <c:v>268</c:v>
                </c:pt>
                <c:pt idx="45">
                  <c:v>226</c:v>
                </c:pt>
                <c:pt idx="46">
                  <c:v>166</c:v>
                </c:pt>
                <c:pt idx="47">
                  <c:v>132</c:v>
                </c:pt>
                <c:pt idx="48">
                  <c:v>106</c:v>
                </c:pt>
                <c:pt idx="49">
                  <c:v>71</c:v>
                </c:pt>
                <c:pt idx="50">
                  <c:v>52</c:v>
                </c:pt>
                <c:pt idx="51">
                  <c:v>45</c:v>
                </c:pt>
                <c:pt idx="52">
                  <c:v>33</c:v>
                </c:pt>
                <c:pt idx="53">
                  <c:v>27</c:v>
                </c:pt>
                <c:pt idx="54">
                  <c:v>21</c:v>
                </c:pt>
                <c:pt idx="55">
                  <c:v>42</c:v>
                </c:pt>
              </c:numCache>
            </c:numRef>
          </c:val>
          <c:extLst>
            <c:ext xmlns:c16="http://schemas.microsoft.com/office/drawing/2014/chart" uri="{C3380CC4-5D6E-409C-BE32-E72D297353CC}">
              <c16:uniqueId val="{00000001-EA81-438A-B594-BEE7BE6D2367}"/>
            </c:ext>
          </c:extLst>
        </c:ser>
        <c:dLbls>
          <c:showLegendKey val="0"/>
          <c:showVal val="0"/>
          <c:showCatName val="0"/>
          <c:showSerName val="0"/>
          <c:showPercent val="0"/>
          <c:showBubbleSize val="0"/>
        </c:dLbls>
        <c:gapWidth val="3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accent1">
                <a:shade val="50000"/>
              </a:schemeClr>
            </a:solidFill>
            <a:round/>
          </a:ln>
          <a:effectLst/>
        </c:spPr>
        <c:txPr>
          <a:bodyPr rot="-3600000" spcFirstLastPara="1" vertOverflow="ellipsis"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9.0659045690861528E-2"/>
          <c:y val="6.5252633611534244E-2"/>
          <c:w val="6.3473719710071638E-2"/>
          <c:h val="0.1496640849049182"/>
        </c:manualLayout>
      </c:layout>
      <c:overlay val="0"/>
      <c:spPr>
        <a:solidFill>
          <a:schemeClr val="bg1"/>
        </a:solid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100716404576615E-2"/>
          <c:y val="2.613493333253513E-2"/>
          <c:w val="0.77545143434904784"/>
          <c:h val="0.87581154860985355"/>
        </c:manualLayout>
      </c:layout>
      <c:lineChart>
        <c:grouping val="standard"/>
        <c:varyColors val="0"/>
        <c:ser>
          <c:idx val="0"/>
          <c:order val="0"/>
          <c:tx>
            <c:strRef>
              <c:f>List1!$B$1</c:f>
              <c:strCache>
                <c:ptCount val="1"/>
                <c:pt idx="0">
                  <c:v>Pedagog, školství</c:v>
                </c:pt>
              </c:strCache>
            </c:strRef>
          </c:tx>
          <c:spPr>
            <a:ln w="28575" cap="rnd">
              <a:solidFill>
                <a:srgbClr val="002060"/>
              </a:solidFill>
              <a:round/>
            </a:ln>
            <a:effectLst/>
          </c:spPr>
          <c:marker>
            <c:symbol val="none"/>
          </c:marker>
          <c:dLbls>
            <c:dLbl>
              <c:idx val="273"/>
              <c:layout/>
              <c:dLblPos val="r"/>
              <c:showLegendKey val="0"/>
              <c:showVal val="1"/>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01-1885-41EC-AE65-BE317F12ED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List1!$A$2:$A$275</c:f>
              <c:strCache>
                <c:ptCount val="274"/>
                <c:pt idx="0">
                  <c:v>4-IX.</c:v>
                </c:pt>
                <c:pt idx="1">
                  <c:v>5-IX.</c:v>
                </c:pt>
                <c:pt idx="2">
                  <c:v>6-IX.</c:v>
                </c:pt>
                <c:pt idx="3">
                  <c:v>7-IX.</c:v>
                </c:pt>
                <c:pt idx="4">
                  <c:v>8-IX.</c:v>
                </c:pt>
                <c:pt idx="5">
                  <c:v>9-IX.</c:v>
                </c:pt>
                <c:pt idx="6">
                  <c:v>10-IX.</c:v>
                </c:pt>
                <c:pt idx="7">
                  <c:v>11-IX.</c:v>
                </c:pt>
                <c:pt idx="8">
                  <c:v>12-IX.</c:v>
                </c:pt>
                <c:pt idx="9">
                  <c:v>13-IX.</c:v>
                </c:pt>
                <c:pt idx="10">
                  <c:v>14-IX.</c:v>
                </c:pt>
                <c:pt idx="11">
                  <c:v>15-IX.</c:v>
                </c:pt>
                <c:pt idx="12">
                  <c:v>16-IX.</c:v>
                </c:pt>
                <c:pt idx="13">
                  <c:v>17-IX.</c:v>
                </c:pt>
                <c:pt idx="14">
                  <c:v>18-IX.</c:v>
                </c:pt>
                <c:pt idx="15">
                  <c:v>19-IX.</c:v>
                </c:pt>
                <c:pt idx="16">
                  <c:v>20-IX.</c:v>
                </c:pt>
                <c:pt idx="17">
                  <c:v>21-IX.</c:v>
                </c:pt>
                <c:pt idx="18">
                  <c:v>22-IX.</c:v>
                </c:pt>
                <c:pt idx="19">
                  <c:v>23-IX.</c:v>
                </c:pt>
                <c:pt idx="20">
                  <c:v>24-IX.</c:v>
                </c:pt>
                <c:pt idx="21">
                  <c:v>25-IX.</c:v>
                </c:pt>
                <c:pt idx="22">
                  <c:v>26-IX.</c:v>
                </c:pt>
                <c:pt idx="23">
                  <c:v>27-IX.</c:v>
                </c:pt>
                <c:pt idx="24">
                  <c:v>28-IX.</c:v>
                </c:pt>
                <c:pt idx="25">
                  <c:v>29-IX.</c:v>
                </c:pt>
                <c:pt idx="26">
                  <c:v>30-IX.</c:v>
                </c:pt>
                <c:pt idx="27">
                  <c:v>1-X.</c:v>
                </c:pt>
                <c:pt idx="28">
                  <c:v>2-X.</c:v>
                </c:pt>
                <c:pt idx="29">
                  <c:v>3-X.</c:v>
                </c:pt>
                <c:pt idx="30">
                  <c:v>4-X.</c:v>
                </c:pt>
                <c:pt idx="31">
                  <c:v>5-X.</c:v>
                </c:pt>
                <c:pt idx="32">
                  <c:v>6-X.</c:v>
                </c:pt>
                <c:pt idx="33">
                  <c:v>7-X.</c:v>
                </c:pt>
                <c:pt idx="34">
                  <c:v>8-X.</c:v>
                </c:pt>
                <c:pt idx="35">
                  <c:v>9-X.</c:v>
                </c:pt>
                <c:pt idx="36">
                  <c:v>10-X.</c:v>
                </c:pt>
                <c:pt idx="37">
                  <c:v>11-X.</c:v>
                </c:pt>
                <c:pt idx="38">
                  <c:v>12-X.</c:v>
                </c:pt>
                <c:pt idx="39">
                  <c:v>13-X.</c:v>
                </c:pt>
                <c:pt idx="40">
                  <c:v>14-X.</c:v>
                </c:pt>
                <c:pt idx="41">
                  <c:v>15-X.</c:v>
                </c:pt>
                <c:pt idx="42">
                  <c:v>16-X.</c:v>
                </c:pt>
                <c:pt idx="43">
                  <c:v>17-X.</c:v>
                </c:pt>
                <c:pt idx="44">
                  <c:v>18-X.</c:v>
                </c:pt>
                <c:pt idx="45">
                  <c:v>19-X.</c:v>
                </c:pt>
                <c:pt idx="46">
                  <c:v>20-X.</c:v>
                </c:pt>
                <c:pt idx="47">
                  <c:v>21-X.</c:v>
                </c:pt>
                <c:pt idx="48">
                  <c:v>22-X.</c:v>
                </c:pt>
                <c:pt idx="49">
                  <c:v>23-X.</c:v>
                </c:pt>
                <c:pt idx="50">
                  <c:v>24-X.</c:v>
                </c:pt>
                <c:pt idx="51">
                  <c:v>25-X.</c:v>
                </c:pt>
                <c:pt idx="52">
                  <c:v>26-X.</c:v>
                </c:pt>
                <c:pt idx="53">
                  <c:v>27-X.</c:v>
                </c:pt>
                <c:pt idx="54">
                  <c:v>28-X.</c:v>
                </c:pt>
                <c:pt idx="55">
                  <c:v>29-X.</c:v>
                </c:pt>
                <c:pt idx="56">
                  <c:v>30-X.</c:v>
                </c:pt>
                <c:pt idx="57">
                  <c:v>31-X.</c:v>
                </c:pt>
                <c:pt idx="58">
                  <c:v>1-XI.</c:v>
                </c:pt>
                <c:pt idx="59">
                  <c:v>2-XI.</c:v>
                </c:pt>
                <c:pt idx="60">
                  <c:v>3-XI.</c:v>
                </c:pt>
                <c:pt idx="61">
                  <c:v>4-XI.</c:v>
                </c:pt>
                <c:pt idx="62">
                  <c:v>5-XI.</c:v>
                </c:pt>
                <c:pt idx="63">
                  <c:v>6-XI.</c:v>
                </c:pt>
                <c:pt idx="64">
                  <c:v>7-XI.</c:v>
                </c:pt>
                <c:pt idx="65">
                  <c:v>8-XI.</c:v>
                </c:pt>
                <c:pt idx="66">
                  <c:v>9-XI.</c:v>
                </c:pt>
                <c:pt idx="67">
                  <c:v>10-XI.</c:v>
                </c:pt>
                <c:pt idx="68">
                  <c:v>11-XI.</c:v>
                </c:pt>
                <c:pt idx="69">
                  <c:v>12-XI.</c:v>
                </c:pt>
                <c:pt idx="70">
                  <c:v>13-XI.</c:v>
                </c:pt>
                <c:pt idx="71">
                  <c:v>14-XI.</c:v>
                </c:pt>
                <c:pt idx="72">
                  <c:v>15-XI.</c:v>
                </c:pt>
                <c:pt idx="73">
                  <c:v>16-XI.</c:v>
                </c:pt>
                <c:pt idx="74">
                  <c:v>17-XI.</c:v>
                </c:pt>
                <c:pt idx="75">
                  <c:v>18-XI.</c:v>
                </c:pt>
                <c:pt idx="76">
                  <c:v>19-XI.</c:v>
                </c:pt>
                <c:pt idx="77">
                  <c:v>20-XI.</c:v>
                </c:pt>
                <c:pt idx="78">
                  <c:v>21-XI.</c:v>
                </c:pt>
                <c:pt idx="79">
                  <c:v>22-XI.</c:v>
                </c:pt>
                <c:pt idx="80">
                  <c:v>23-XI.</c:v>
                </c:pt>
                <c:pt idx="81">
                  <c:v>24-XI.</c:v>
                </c:pt>
                <c:pt idx="82">
                  <c:v>25-XI.</c:v>
                </c:pt>
                <c:pt idx="83">
                  <c:v>26-XI.</c:v>
                </c:pt>
                <c:pt idx="84">
                  <c:v>27-XI.</c:v>
                </c:pt>
                <c:pt idx="85">
                  <c:v>28-XI.</c:v>
                </c:pt>
                <c:pt idx="86">
                  <c:v>29-XI.</c:v>
                </c:pt>
                <c:pt idx="87">
                  <c:v>30-XI.</c:v>
                </c:pt>
                <c:pt idx="88">
                  <c:v>1-XII.</c:v>
                </c:pt>
                <c:pt idx="89">
                  <c:v>2-XII.</c:v>
                </c:pt>
                <c:pt idx="90">
                  <c:v>3-XII.</c:v>
                </c:pt>
                <c:pt idx="91">
                  <c:v>4-XII.</c:v>
                </c:pt>
                <c:pt idx="92">
                  <c:v>5-XII.</c:v>
                </c:pt>
                <c:pt idx="93">
                  <c:v>6-XII.</c:v>
                </c:pt>
                <c:pt idx="94">
                  <c:v>7-XII.</c:v>
                </c:pt>
                <c:pt idx="95">
                  <c:v>8-XII.</c:v>
                </c:pt>
                <c:pt idx="96">
                  <c:v>9-XII.</c:v>
                </c:pt>
                <c:pt idx="97">
                  <c:v>10-XII.</c:v>
                </c:pt>
                <c:pt idx="98">
                  <c:v>11-XII.</c:v>
                </c:pt>
                <c:pt idx="99">
                  <c:v>12-XII.</c:v>
                </c:pt>
                <c:pt idx="100">
                  <c:v>13-XII.</c:v>
                </c:pt>
                <c:pt idx="101">
                  <c:v>14-XII.</c:v>
                </c:pt>
                <c:pt idx="102">
                  <c:v>15-XII.</c:v>
                </c:pt>
                <c:pt idx="103">
                  <c:v>16-XII.</c:v>
                </c:pt>
                <c:pt idx="104">
                  <c:v>17-XII.</c:v>
                </c:pt>
                <c:pt idx="105">
                  <c:v>18-XII.</c:v>
                </c:pt>
                <c:pt idx="106">
                  <c:v>19-XII.</c:v>
                </c:pt>
                <c:pt idx="107">
                  <c:v>20-XII.</c:v>
                </c:pt>
                <c:pt idx="108">
                  <c:v>21-XII.</c:v>
                </c:pt>
                <c:pt idx="109">
                  <c:v>22-XII.</c:v>
                </c:pt>
                <c:pt idx="110">
                  <c:v>23-XII.</c:v>
                </c:pt>
                <c:pt idx="111">
                  <c:v>24-XII.</c:v>
                </c:pt>
                <c:pt idx="112">
                  <c:v>25-XII.</c:v>
                </c:pt>
                <c:pt idx="113">
                  <c:v>26-XII.</c:v>
                </c:pt>
                <c:pt idx="114">
                  <c:v>27-XII.</c:v>
                </c:pt>
                <c:pt idx="115">
                  <c:v>28-XII.</c:v>
                </c:pt>
                <c:pt idx="116">
                  <c:v>29-XII.</c:v>
                </c:pt>
                <c:pt idx="117">
                  <c:v>30-XII.</c:v>
                </c:pt>
                <c:pt idx="118">
                  <c:v>31-XII.</c:v>
                </c:pt>
                <c:pt idx="119">
                  <c:v>1-I.</c:v>
                </c:pt>
                <c:pt idx="120">
                  <c:v>2-I.</c:v>
                </c:pt>
                <c:pt idx="121">
                  <c:v>3-I.</c:v>
                </c:pt>
                <c:pt idx="122">
                  <c:v>4-I.</c:v>
                </c:pt>
                <c:pt idx="123">
                  <c:v>5-I.</c:v>
                </c:pt>
                <c:pt idx="124">
                  <c:v>6-I.</c:v>
                </c:pt>
                <c:pt idx="125">
                  <c:v>7-I.</c:v>
                </c:pt>
                <c:pt idx="126">
                  <c:v>8-I.</c:v>
                </c:pt>
                <c:pt idx="127">
                  <c:v>9-I.</c:v>
                </c:pt>
                <c:pt idx="128">
                  <c:v>10-I.</c:v>
                </c:pt>
                <c:pt idx="129">
                  <c:v>11-I.</c:v>
                </c:pt>
                <c:pt idx="130">
                  <c:v>12-I.</c:v>
                </c:pt>
                <c:pt idx="131">
                  <c:v>13-I.</c:v>
                </c:pt>
                <c:pt idx="132">
                  <c:v>14-I.</c:v>
                </c:pt>
                <c:pt idx="133">
                  <c:v>15-I.</c:v>
                </c:pt>
                <c:pt idx="134">
                  <c:v>16-I.</c:v>
                </c:pt>
                <c:pt idx="135">
                  <c:v>17-I.</c:v>
                </c:pt>
                <c:pt idx="136">
                  <c:v>18-I.</c:v>
                </c:pt>
                <c:pt idx="137">
                  <c:v>19-I.</c:v>
                </c:pt>
                <c:pt idx="138">
                  <c:v>20-I.</c:v>
                </c:pt>
                <c:pt idx="139">
                  <c:v>21-I.</c:v>
                </c:pt>
                <c:pt idx="140">
                  <c:v>22-I.</c:v>
                </c:pt>
                <c:pt idx="141">
                  <c:v>23-I.</c:v>
                </c:pt>
                <c:pt idx="142">
                  <c:v>24-I.</c:v>
                </c:pt>
                <c:pt idx="143">
                  <c:v>25-I.</c:v>
                </c:pt>
                <c:pt idx="144">
                  <c:v>26-I.</c:v>
                </c:pt>
                <c:pt idx="145">
                  <c:v>27-I.</c:v>
                </c:pt>
                <c:pt idx="146">
                  <c:v>28-I.</c:v>
                </c:pt>
                <c:pt idx="147">
                  <c:v>29-I.</c:v>
                </c:pt>
                <c:pt idx="148">
                  <c:v>30-I.</c:v>
                </c:pt>
                <c:pt idx="149">
                  <c:v>31-I.</c:v>
                </c:pt>
                <c:pt idx="150">
                  <c:v>1-II.</c:v>
                </c:pt>
                <c:pt idx="151">
                  <c:v>2-II.</c:v>
                </c:pt>
                <c:pt idx="152">
                  <c:v>3-II.</c:v>
                </c:pt>
                <c:pt idx="153">
                  <c:v>4-II.</c:v>
                </c:pt>
                <c:pt idx="154">
                  <c:v>5-II.</c:v>
                </c:pt>
                <c:pt idx="155">
                  <c:v>6-II.</c:v>
                </c:pt>
                <c:pt idx="156">
                  <c:v>7-II.</c:v>
                </c:pt>
                <c:pt idx="157">
                  <c:v>8-II.</c:v>
                </c:pt>
                <c:pt idx="158">
                  <c:v>9-II.</c:v>
                </c:pt>
                <c:pt idx="159">
                  <c:v>10-II.</c:v>
                </c:pt>
                <c:pt idx="160">
                  <c:v>11-II.</c:v>
                </c:pt>
                <c:pt idx="161">
                  <c:v>12-II.</c:v>
                </c:pt>
                <c:pt idx="162">
                  <c:v>13-II.</c:v>
                </c:pt>
                <c:pt idx="163">
                  <c:v>14-II.</c:v>
                </c:pt>
                <c:pt idx="164">
                  <c:v>15-II.</c:v>
                </c:pt>
                <c:pt idx="165">
                  <c:v>16-II.</c:v>
                </c:pt>
                <c:pt idx="166">
                  <c:v>17-II.</c:v>
                </c:pt>
                <c:pt idx="167">
                  <c:v>18-II.</c:v>
                </c:pt>
                <c:pt idx="168">
                  <c:v>19-II.</c:v>
                </c:pt>
                <c:pt idx="169">
                  <c:v>20-II.</c:v>
                </c:pt>
                <c:pt idx="170">
                  <c:v>21-II.</c:v>
                </c:pt>
                <c:pt idx="171">
                  <c:v>22-II.</c:v>
                </c:pt>
                <c:pt idx="172">
                  <c:v>23-II.</c:v>
                </c:pt>
                <c:pt idx="173">
                  <c:v>24-II.</c:v>
                </c:pt>
                <c:pt idx="174">
                  <c:v>25-II.</c:v>
                </c:pt>
                <c:pt idx="175">
                  <c:v>26-II.</c:v>
                </c:pt>
                <c:pt idx="176">
                  <c:v>27-II.</c:v>
                </c:pt>
                <c:pt idx="177">
                  <c:v>28-II.</c:v>
                </c:pt>
                <c:pt idx="178">
                  <c:v>1-III.</c:v>
                </c:pt>
                <c:pt idx="179">
                  <c:v>2-III.</c:v>
                </c:pt>
                <c:pt idx="180">
                  <c:v>3-III.</c:v>
                </c:pt>
                <c:pt idx="181">
                  <c:v>4-III.</c:v>
                </c:pt>
                <c:pt idx="182">
                  <c:v>5-III.</c:v>
                </c:pt>
                <c:pt idx="183">
                  <c:v>6-III.</c:v>
                </c:pt>
                <c:pt idx="184">
                  <c:v>7-III.</c:v>
                </c:pt>
                <c:pt idx="185">
                  <c:v>8-III.</c:v>
                </c:pt>
                <c:pt idx="186">
                  <c:v>9-III.</c:v>
                </c:pt>
                <c:pt idx="187">
                  <c:v>10-III.</c:v>
                </c:pt>
                <c:pt idx="188">
                  <c:v>11-III.</c:v>
                </c:pt>
                <c:pt idx="189">
                  <c:v>12-III.</c:v>
                </c:pt>
                <c:pt idx="190">
                  <c:v>13-III.</c:v>
                </c:pt>
                <c:pt idx="191">
                  <c:v>14-III.</c:v>
                </c:pt>
                <c:pt idx="192">
                  <c:v>15-III.</c:v>
                </c:pt>
                <c:pt idx="193">
                  <c:v>16-III.</c:v>
                </c:pt>
                <c:pt idx="194">
                  <c:v>17-III.</c:v>
                </c:pt>
                <c:pt idx="195">
                  <c:v>18-III.</c:v>
                </c:pt>
                <c:pt idx="196">
                  <c:v>19-III.</c:v>
                </c:pt>
                <c:pt idx="197">
                  <c:v>20-III.</c:v>
                </c:pt>
                <c:pt idx="198">
                  <c:v>21-III.</c:v>
                </c:pt>
                <c:pt idx="199">
                  <c:v>22-III.</c:v>
                </c:pt>
                <c:pt idx="200">
                  <c:v>23-III.</c:v>
                </c:pt>
                <c:pt idx="201">
                  <c:v>24-III.</c:v>
                </c:pt>
                <c:pt idx="202">
                  <c:v>25-III.</c:v>
                </c:pt>
                <c:pt idx="203">
                  <c:v>26-III.</c:v>
                </c:pt>
                <c:pt idx="204">
                  <c:v>27-III.</c:v>
                </c:pt>
                <c:pt idx="205">
                  <c:v>28-III.</c:v>
                </c:pt>
                <c:pt idx="206">
                  <c:v>29-III.</c:v>
                </c:pt>
                <c:pt idx="207">
                  <c:v>30-III.</c:v>
                </c:pt>
                <c:pt idx="208">
                  <c:v>31-III.</c:v>
                </c:pt>
                <c:pt idx="209">
                  <c:v>1-IV.</c:v>
                </c:pt>
                <c:pt idx="210">
                  <c:v>2-IV.</c:v>
                </c:pt>
                <c:pt idx="211">
                  <c:v>3-IV.</c:v>
                </c:pt>
                <c:pt idx="212">
                  <c:v>4-IV.</c:v>
                </c:pt>
                <c:pt idx="213">
                  <c:v>5-IV.</c:v>
                </c:pt>
                <c:pt idx="214">
                  <c:v>6-IV.</c:v>
                </c:pt>
                <c:pt idx="215">
                  <c:v>7-IV.</c:v>
                </c:pt>
                <c:pt idx="216">
                  <c:v>8-IV.</c:v>
                </c:pt>
                <c:pt idx="217">
                  <c:v>9-IV.</c:v>
                </c:pt>
                <c:pt idx="218">
                  <c:v>10-IV.</c:v>
                </c:pt>
                <c:pt idx="219">
                  <c:v>11-IV.</c:v>
                </c:pt>
                <c:pt idx="220">
                  <c:v>12-IV.</c:v>
                </c:pt>
                <c:pt idx="221">
                  <c:v>13-IV.</c:v>
                </c:pt>
                <c:pt idx="222">
                  <c:v>14-IV.</c:v>
                </c:pt>
                <c:pt idx="223">
                  <c:v>15-IV.</c:v>
                </c:pt>
                <c:pt idx="224">
                  <c:v>16-IV.</c:v>
                </c:pt>
                <c:pt idx="225">
                  <c:v>17-IV.</c:v>
                </c:pt>
                <c:pt idx="226">
                  <c:v>18-IV.</c:v>
                </c:pt>
                <c:pt idx="227">
                  <c:v>19-IV.</c:v>
                </c:pt>
                <c:pt idx="228">
                  <c:v>20-IV.</c:v>
                </c:pt>
                <c:pt idx="229">
                  <c:v>21-IV.</c:v>
                </c:pt>
                <c:pt idx="230">
                  <c:v>22-IV.</c:v>
                </c:pt>
                <c:pt idx="231">
                  <c:v>23-IV.</c:v>
                </c:pt>
                <c:pt idx="232">
                  <c:v>24-IV.</c:v>
                </c:pt>
                <c:pt idx="233">
                  <c:v>25-IV.</c:v>
                </c:pt>
                <c:pt idx="234">
                  <c:v>26-IV.</c:v>
                </c:pt>
                <c:pt idx="235">
                  <c:v>27-IV.</c:v>
                </c:pt>
                <c:pt idx="236">
                  <c:v>28-IV.</c:v>
                </c:pt>
                <c:pt idx="237">
                  <c:v>29-IV.</c:v>
                </c:pt>
                <c:pt idx="238">
                  <c:v>30-IV.</c:v>
                </c:pt>
                <c:pt idx="239">
                  <c:v>1-V.</c:v>
                </c:pt>
                <c:pt idx="240">
                  <c:v>2-V.</c:v>
                </c:pt>
                <c:pt idx="241">
                  <c:v>3-V.</c:v>
                </c:pt>
                <c:pt idx="242">
                  <c:v>4-V.</c:v>
                </c:pt>
                <c:pt idx="243">
                  <c:v>5-V.</c:v>
                </c:pt>
                <c:pt idx="244">
                  <c:v>6-V.</c:v>
                </c:pt>
                <c:pt idx="245">
                  <c:v>7-V.</c:v>
                </c:pt>
                <c:pt idx="246">
                  <c:v>8-V.</c:v>
                </c:pt>
                <c:pt idx="247">
                  <c:v>9-V.</c:v>
                </c:pt>
                <c:pt idx="248">
                  <c:v>10-V.</c:v>
                </c:pt>
                <c:pt idx="249">
                  <c:v>11-V.</c:v>
                </c:pt>
                <c:pt idx="250">
                  <c:v>12-V.</c:v>
                </c:pt>
                <c:pt idx="251">
                  <c:v>13-V.</c:v>
                </c:pt>
                <c:pt idx="252">
                  <c:v>14-V.</c:v>
                </c:pt>
                <c:pt idx="253">
                  <c:v>15-V.</c:v>
                </c:pt>
                <c:pt idx="254">
                  <c:v>16-V.</c:v>
                </c:pt>
                <c:pt idx="255">
                  <c:v>17-V.</c:v>
                </c:pt>
                <c:pt idx="256">
                  <c:v>18-V.</c:v>
                </c:pt>
                <c:pt idx="257">
                  <c:v>19-V.</c:v>
                </c:pt>
                <c:pt idx="258">
                  <c:v>20-V.</c:v>
                </c:pt>
                <c:pt idx="259">
                  <c:v>21-V.</c:v>
                </c:pt>
                <c:pt idx="260">
                  <c:v>22-V.</c:v>
                </c:pt>
                <c:pt idx="261">
                  <c:v>23-V.</c:v>
                </c:pt>
                <c:pt idx="262">
                  <c:v>24-V.</c:v>
                </c:pt>
                <c:pt idx="263">
                  <c:v>25-V.</c:v>
                </c:pt>
                <c:pt idx="264">
                  <c:v>26-V.</c:v>
                </c:pt>
                <c:pt idx="265">
                  <c:v>27-V.</c:v>
                </c:pt>
                <c:pt idx="266">
                  <c:v>28-V.</c:v>
                </c:pt>
                <c:pt idx="267">
                  <c:v>29-V.</c:v>
                </c:pt>
                <c:pt idx="268">
                  <c:v>30-V.</c:v>
                </c:pt>
                <c:pt idx="269">
                  <c:v>31-V.</c:v>
                </c:pt>
                <c:pt idx="270">
                  <c:v>1-VI.</c:v>
                </c:pt>
                <c:pt idx="271">
                  <c:v>2-VI.</c:v>
                </c:pt>
                <c:pt idx="272">
                  <c:v>3-VI.</c:v>
                </c:pt>
                <c:pt idx="273">
                  <c:v>4-VI.</c:v>
                </c:pt>
              </c:strCache>
            </c:strRef>
          </c:cat>
          <c:val>
            <c:numRef>
              <c:f>List1!$B$2:$B$275</c:f>
              <c:numCache>
                <c:formatCode>General</c:formatCode>
                <c:ptCount val="274"/>
                <c:pt idx="0">
                  <c:v>177</c:v>
                </c:pt>
                <c:pt idx="1">
                  <c:v>198</c:v>
                </c:pt>
                <c:pt idx="2">
                  <c:v>205</c:v>
                </c:pt>
                <c:pt idx="3">
                  <c:v>215</c:v>
                </c:pt>
                <c:pt idx="4">
                  <c:v>259</c:v>
                </c:pt>
                <c:pt idx="5">
                  <c:v>318</c:v>
                </c:pt>
                <c:pt idx="6">
                  <c:v>392</c:v>
                </c:pt>
                <c:pt idx="7">
                  <c:v>428</c:v>
                </c:pt>
                <c:pt idx="8">
                  <c:v>449</c:v>
                </c:pt>
                <c:pt idx="9">
                  <c:v>460</c:v>
                </c:pt>
                <c:pt idx="10">
                  <c:v>490</c:v>
                </c:pt>
                <c:pt idx="11">
                  <c:v>591</c:v>
                </c:pt>
                <c:pt idx="12">
                  <c:v>709</c:v>
                </c:pt>
                <c:pt idx="13">
                  <c:v>830</c:v>
                </c:pt>
                <c:pt idx="14">
                  <c:v>870</c:v>
                </c:pt>
                <c:pt idx="15">
                  <c:v>913</c:v>
                </c:pt>
                <c:pt idx="16">
                  <c:v>889</c:v>
                </c:pt>
                <c:pt idx="17">
                  <c:v>891</c:v>
                </c:pt>
                <c:pt idx="18">
                  <c:v>993</c:v>
                </c:pt>
                <c:pt idx="19">
                  <c:v>1066</c:v>
                </c:pt>
                <c:pt idx="20">
                  <c:v>1099</c:v>
                </c:pt>
                <c:pt idx="21">
                  <c:v>1141</c:v>
                </c:pt>
                <c:pt idx="22">
                  <c:v>1136</c:v>
                </c:pt>
                <c:pt idx="23">
                  <c:v>1100</c:v>
                </c:pt>
                <c:pt idx="24">
                  <c:v>1071</c:v>
                </c:pt>
                <c:pt idx="25">
                  <c:v>1097</c:v>
                </c:pt>
                <c:pt idx="26">
                  <c:v>1172</c:v>
                </c:pt>
                <c:pt idx="27">
                  <c:v>1258</c:v>
                </c:pt>
                <c:pt idx="28">
                  <c:v>1305</c:v>
                </c:pt>
                <c:pt idx="29">
                  <c:v>1321</c:v>
                </c:pt>
                <c:pt idx="30">
                  <c:v>1297</c:v>
                </c:pt>
                <c:pt idx="31">
                  <c:v>1301</c:v>
                </c:pt>
                <c:pt idx="32">
                  <c:v>1465</c:v>
                </c:pt>
                <c:pt idx="33">
                  <c:v>1669</c:v>
                </c:pt>
                <c:pt idx="34">
                  <c:v>1860</c:v>
                </c:pt>
                <c:pt idx="35">
                  <c:v>2091</c:v>
                </c:pt>
                <c:pt idx="36">
                  <c:v>2150</c:v>
                </c:pt>
                <c:pt idx="37">
                  <c:v>2131</c:v>
                </c:pt>
                <c:pt idx="38">
                  <c:v>2133</c:v>
                </c:pt>
                <c:pt idx="39">
                  <c:v>2452</c:v>
                </c:pt>
                <c:pt idx="40">
                  <c:v>2840</c:v>
                </c:pt>
                <c:pt idx="41">
                  <c:v>3120</c:v>
                </c:pt>
                <c:pt idx="42">
                  <c:v>3285</c:v>
                </c:pt>
                <c:pt idx="43">
                  <c:v>3376</c:v>
                </c:pt>
                <c:pt idx="44">
                  <c:v>3341</c:v>
                </c:pt>
                <c:pt idx="45">
                  <c:v>3383</c:v>
                </c:pt>
                <c:pt idx="46">
                  <c:v>3651</c:v>
                </c:pt>
                <c:pt idx="47">
                  <c:v>4087</c:v>
                </c:pt>
                <c:pt idx="48">
                  <c:v>4381</c:v>
                </c:pt>
                <c:pt idx="49">
                  <c:v>4472</c:v>
                </c:pt>
                <c:pt idx="50">
                  <c:v>4516</c:v>
                </c:pt>
                <c:pt idx="51">
                  <c:v>4389</c:v>
                </c:pt>
                <c:pt idx="52">
                  <c:v>4197</c:v>
                </c:pt>
                <c:pt idx="53">
                  <c:v>4304</c:v>
                </c:pt>
                <c:pt idx="54">
                  <c:v>4563</c:v>
                </c:pt>
                <c:pt idx="55">
                  <c:v>4437</c:v>
                </c:pt>
                <c:pt idx="56">
                  <c:v>4220</c:v>
                </c:pt>
                <c:pt idx="57">
                  <c:v>3962</c:v>
                </c:pt>
                <c:pt idx="58">
                  <c:v>3634</c:v>
                </c:pt>
                <c:pt idx="59">
                  <c:v>3333</c:v>
                </c:pt>
                <c:pt idx="60">
                  <c:v>3332</c:v>
                </c:pt>
                <c:pt idx="61">
                  <c:v>3528</c:v>
                </c:pt>
                <c:pt idx="62">
                  <c:v>3305</c:v>
                </c:pt>
                <c:pt idx="63">
                  <c:v>2966</c:v>
                </c:pt>
                <c:pt idx="64">
                  <c:v>2919</c:v>
                </c:pt>
                <c:pt idx="65">
                  <c:v>2524</c:v>
                </c:pt>
                <c:pt idx="66">
                  <c:v>2234</c:v>
                </c:pt>
                <c:pt idx="67">
                  <c:v>2265</c:v>
                </c:pt>
                <c:pt idx="68">
                  <c:v>2294</c:v>
                </c:pt>
                <c:pt idx="69">
                  <c:v>2098</c:v>
                </c:pt>
                <c:pt idx="70">
                  <c:v>1934</c:v>
                </c:pt>
                <c:pt idx="71">
                  <c:v>1729</c:v>
                </c:pt>
                <c:pt idx="72">
                  <c:v>1500</c:v>
                </c:pt>
                <c:pt idx="73">
                  <c:v>1363</c:v>
                </c:pt>
                <c:pt idx="74">
                  <c:v>1365</c:v>
                </c:pt>
                <c:pt idx="75">
                  <c:v>1415</c:v>
                </c:pt>
                <c:pt idx="76">
                  <c:v>1375</c:v>
                </c:pt>
                <c:pt idx="77">
                  <c:v>1331</c:v>
                </c:pt>
                <c:pt idx="78">
                  <c:v>1250</c:v>
                </c:pt>
                <c:pt idx="79">
                  <c:v>1131</c:v>
                </c:pt>
                <c:pt idx="80">
                  <c:v>1071</c:v>
                </c:pt>
                <c:pt idx="81">
                  <c:v>1158</c:v>
                </c:pt>
                <c:pt idx="82">
                  <c:v>1281</c:v>
                </c:pt>
                <c:pt idx="83">
                  <c:v>1194</c:v>
                </c:pt>
                <c:pt idx="84">
                  <c:v>1237</c:v>
                </c:pt>
                <c:pt idx="85">
                  <c:v>1138</c:v>
                </c:pt>
                <c:pt idx="86">
                  <c:v>991</c:v>
                </c:pt>
                <c:pt idx="87">
                  <c:v>963</c:v>
                </c:pt>
                <c:pt idx="88">
                  <c:v>1105</c:v>
                </c:pt>
                <c:pt idx="89">
                  <c:v>1243</c:v>
                </c:pt>
                <c:pt idx="90">
                  <c:v>1241</c:v>
                </c:pt>
                <c:pt idx="91">
                  <c:v>1266</c:v>
                </c:pt>
                <c:pt idx="92">
                  <c:v>1260</c:v>
                </c:pt>
                <c:pt idx="93">
                  <c:v>1186</c:v>
                </c:pt>
                <c:pt idx="94">
                  <c:v>1255</c:v>
                </c:pt>
                <c:pt idx="95">
                  <c:v>1518</c:v>
                </c:pt>
                <c:pt idx="96">
                  <c:v>1766</c:v>
                </c:pt>
                <c:pt idx="97">
                  <c:v>1838</c:v>
                </c:pt>
                <c:pt idx="98">
                  <c:v>1912</c:v>
                </c:pt>
                <c:pt idx="99">
                  <c:v>1890</c:v>
                </c:pt>
                <c:pt idx="100">
                  <c:v>1815</c:v>
                </c:pt>
                <c:pt idx="101">
                  <c:v>1875</c:v>
                </c:pt>
                <c:pt idx="102">
                  <c:v>2189</c:v>
                </c:pt>
                <c:pt idx="103">
                  <c:v>2501</c:v>
                </c:pt>
                <c:pt idx="104">
                  <c:v>2537</c:v>
                </c:pt>
                <c:pt idx="105">
                  <c:v>2528</c:v>
                </c:pt>
                <c:pt idx="106">
                  <c:v>2466</c:v>
                </c:pt>
                <c:pt idx="107">
                  <c:v>2333</c:v>
                </c:pt>
                <c:pt idx="108">
                  <c:v>2359</c:v>
                </c:pt>
                <c:pt idx="109">
                  <c:v>2660</c:v>
                </c:pt>
                <c:pt idx="110">
                  <c:v>3065</c:v>
                </c:pt>
                <c:pt idx="111">
                  <c:v>2857</c:v>
                </c:pt>
                <c:pt idx="112">
                  <c:v>2545</c:v>
                </c:pt>
                <c:pt idx="113">
                  <c:v>2302</c:v>
                </c:pt>
                <c:pt idx="114">
                  <c:v>2140</c:v>
                </c:pt>
                <c:pt idx="115">
                  <c:v>2174</c:v>
                </c:pt>
                <c:pt idx="116">
                  <c:v>2556</c:v>
                </c:pt>
                <c:pt idx="117">
                  <c:v>2876</c:v>
                </c:pt>
                <c:pt idx="118">
                  <c:v>2797</c:v>
                </c:pt>
                <c:pt idx="119">
                  <c:v>2495</c:v>
                </c:pt>
                <c:pt idx="120">
                  <c:v>2254</c:v>
                </c:pt>
                <c:pt idx="121">
                  <c:v>2365</c:v>
                </c:pt>
                <c:pt idx="122">
                  <c:v>2676</c:v>
                </c:pt>
                <c:pt idx="123">
                  <c:v>3107</c:v>
                </c:pt>
                <c:pt idx="124">
                  <c:v>3462</c:v>
                </c:pt>
                <c:pt idx="125">
                  <c:v>3393</c:v>
                </c:pt>
                <c:pt idx="126">
                  <c:v>3243</c:v>
                </c:pt>
                <c:pt idx="127">
                  <c:v>3066</c:v>
                </c:pt>
                <c:pt idx="128">
                  <c:v>2977</c:v>
                </c:pt>
                <c:pt idx="129">
                  <c:v>3188</c:v>
                </c:pt>
                <c:pt idx="130">
                  <c:v>3334</c:v>
                </c:pt>
                <c:pt idx="131">
                  <c:v>3512</c:v>
                </c:pt>
                <c:pt idx="132">
                  <c:v>3213</c:v>
                </c:pt>
                <c:pt idx="133">
                  <c:v>2986</c:v>
                </c:pt>
                <c:pt idx="134">
                  <c:v>2762</c:v>
                </c:pt>
                <c:pt idx="135">
                  <c:v>2460</c:v>
                </c:pt>
                <c:pt idx="136">
                  <c:v>2383</c:v>
                </c:pt>
                <c:pt idx="137">
                  <c:v>2547</c:v>
                </c:pt>
                <c:pt idx="138">
                  <c:v>2661</c:v>
                </c:pt>
                <c:pt idx="139">
                  <c:v>2550</c:v>
                </c:pt>
                <c:pt idx="140">
                  <c:v>2480</c:v>
                </c:pt>
                <c:pt idx="141">
                  <c:v>2257</c:v>
                </c:pt>
                <c:pt idx="142">
                  <c:v>2072</c:v>
                </c:pt>
                <c:pt idx="143">
                  <c:v>1975</c:v>
                </c:pt>
                <c:pt idx="144">
                  <c:v>2188</c:v>
                </c:pt>
                <c:pt idx="145">
                  <c:v>2421</c:v>
                </c:pt>
                <c:pt idx="146">
                  <c:v>2333</c:v>
                </c:pt>
                <c:pt idx="147">
                  <c:v>2283</c:v>
                </c:pt>
                <c:pt idx="148">
                  <c:v>2133</c:v>
                </c:pt>
                <c:pt idx="149">
                  <c:v>1994</c:v>
                </c:pt>
                <c:pt idx="150">
                  <c:v>1989</c:v>
                </c:pt>
                <c:pt idx="151">
                  <c:v>2224</c:v>
                </c:pt>
                <c:pt idx="152">
                  <c:v>2444</c:v>
                </c:pt>
                <c:pt idx="153">
                  <c:v>2368</c:v>
                </c:pt>
                <c:pt idx="154">
                  <c:v>2307</c:v>
                </c:pt>
                <c:pt idx="155">
                  <c:v>2181</c:v>
                </c:pt>
                <c:pt idx="156">
                  <c:v>2042</c:v>
                </c:pt>
                <c:pt idx="157">
                  <c:v>2064</c:v>
                </c:pt>
                <c:pt idx="158">
                  <c:v>2292</c:v>
                </c:pt>
                <c:pt idx="159">
                  <c:v>2506</c:v>
                </c:pt>
                <c:pt idx="160">
                  <c:v>2473</c:v>
                </c:pt>
                <c:pt idx="161">
                  <c:v>2451</c:v>
                </c:pt>
                <c:pt idx="162">
                  <c:v>2362</c:v>
                </c:pt>
                <c:pt idx="163">
                  <c:v>2182</c:v>
                </c:pt>
                <c:pt idx="164">
                  <c:v>2239</c:v>
                </c:pt>
                <c:pt idx="165">
                  <c:v>2577</c:v>
                </c:pt>
                <c:pt idx="166">
                  <c:v>2833</c:v>
                </c:pt>
                <c:pt idx="167">
                  <c:v>2838</c:v>
                </c:pt>
                <c:pt idx="168">
                  <c:v>2897</c:v>
                </c:pt>
                <c:pt idx="169">
                  <c:v>2808</c:v>
                </c:pt>
                <c:pt idx="170">
                  <c:v>2678</c:v>
                </c:pt>
                <c:pt idx="171">
                  <c:v>2738</c:v>
                </c:pt>
                <c:pt idx="172">
                  <c:v>3112</c:v>
                </c:pt>
                <c:pt idx="173">
                  <c:v>3425</c:v>
                </c:pt>
                <c:pt idx="174">
                  <c:v>3440</c:v>
                </c:pt>
                <c:pt idx="175">
                  <c:v>3496</c:v>
                </c:pt>
                <c:pt idx="176">
                  <c:v>3420</c:v>
                </c:pt>
                <c:pt idx="177">
                  <c:v>3196</c:v>
                </c:pt>
                <c:pt idx="178">
                  <c:v>3150</c:v>
                </c:pt>
                <c:pt idx="179">
                  <c:v>3436</c:v>
                </c:pt>
                <c:pt idx="180">
                  <c:v>3693</c:v>
                </c:pt>
                <c:pt idx="181">
                  <c:v>3596</c:v>
                </c:pt>
                <c:pt idx="182">
                  <c:v>3453</c:v>
                </c:pt>
                <c:pt idx="183">
                  <c:v>3236</c:v>
                </c:pt>
                <c:pt idx="184">
                  <c:v>2936</c:v>
                </c:pt>
                <c:pt idx="185">
                  <c:v>2791</c:v>
                </c:pt>
                <c:pt idx="186">
                  <c:v>2939</c:v>
                </c:pt>
                <c:pt idx="187">
                  <c:v>3102</c:v>
                </c:pt>
                <c:pt idx="188">
                  <c:v>3319</c:v>
                </c:pt>
                <c:pt idx="189">
                  <c:v>3610</c:v>
                </c:pt>
                <c:pt idx="190">
                  <c:v>3752</c:v>
                </c:pt>
                <c:pt idx="191">
                  <c:v>3805</c:v>
                </c:pt>
                <c:pt idx="192">
                  <c:v>3560</c:v>
                </c:pt>
                <c:pt idx="193">
                  <c:v>3402</c:v>
                </c:pt>
                <c:pt idx="194">
                  <c:v>3225</c:v>
                </c:pt>
                <c:pt idx="195">
                  <c:v>3033</c:v>
                </c:pt>
                <c:pt idx="196">
                  <c:v>2868</c:v>
                </c:pt>
                <c:pt idx="197">
                  <c:v>2834</c:v>
                </c:pt>
                <c:pt idx="198">
                  <c:v>2773</c:v>
                </c:pt>
                <c:pt idx="199">
                  <c:v>2572</c:v>
                </c:pt>
                <c:pt idx="200">
                  <c:v>2482</c:v>
                </c:pt>
                <c:pt idx="201">
                  <c:v>2310</c:v>
                </c:pt>
                <c:pt idx="202">
                  <c:v>2221</c:v>
                </c:pt>
                <c:pt idx="203">
                  <c:v>2076</c:v>
                </c:pt>
                <c:pt idx="204">
                  <c:v>2069</c:v>
                </c:pt>
                <c:pt idx="205">
                  <c:v>2040</c:v>
                </c:pt>
                <c:pt idx="206">
                  <c:v>1861</c:v>
                </c:pt>
                <c:pt idx="207">
                  <c:v>1748</c:v>
                </c:pt>
                <c:pt idx="208">
                  <c:v>1662</c:v>
                </c:pt>
                <c:pt idx="209">
                  <c:v>1541</c:v>
                </c:pt>
                <c:pt idx="210">
                  <c:v>1427</c:v>
                </c:pt>
                <c:pt idx="211">
                  <c:v>1415</c:v>
                </c:pt>
                <c:pt idx="212">
                  <c:v>1405</c:v>
                </c:pt>
                <c:pt idx="213">
                  <c:v>1236</c:v>
                </c:pt>
                <c:pt idx="214">
                  <c:v>1163</c:v>
                </c:pt>
                <c:pt idx="215">
                  <c:v>1145</c:v>
                </c:pt>
                <c:pt idx="216">
                  <c:v>1118</c:v>
                </c:pt>
                <c:pt idx="217">
                  <c:v>1066</c:v>
                </c:pt>
                <c:pt idx="218">
                  <c:v>1058</c:v>
                </c:pt>
                <c:pt idx="219">
                  <c:v>1036</c:v>
                </c:pt>
                <c:pt idx="220">
                  <c:v>934</c:v>
                </c:pt>
                <c:pt idx="221">
                  <c:v>904</c:v>
                </c:pt>
                <c:pt idx="222">
                  <c:v>867</c:v>
                </c:pt>
                <c:pt idx="223">
                  <c:v>827</c:v>
                </c:pt>
                <c:pt idx="224">
                  <c:v>835</c:v>
                </c:pt>
                <c:pt idx="225">
                  <c:v>821</c:v>
                </c:pt>
                <c:pt idx="226">
                  <c:v>806</c:v>
                </c:pt>
                <c:pt idx="227">
                  <c:v>848</c:v>
                </c:pt>
                <c:pt idx="228">
                  <c:v>762</c:v>
                </c:pt>
                <c:pt idx="229">
                  <c:v>698</c:v>
                </c:pt>
                <c:pt idx="230">
                  <c:v>664</c:v>
                </c:pt>
                <c:pt idx="231">
                  <c:v>639</c:v>
                </c:pt>
                <c:pt idx="232">
                  <c:v>620</c:v>
                </c:pt>
                <c:pt idx="233">
                  <c:v>611</c:v>
                </c:pt>
                <c:pt idx="234">
                  <c:v>558</c:v>
                </c:pt>
                <c:pt idx="235">
                  <c:v>531</c:v>
                </c:pt>
                <c:pt idx="236">
                  <c:v>510</c:v>
                </c:pt>
                <c:pt idx="237">
                  <c:v>493</c:v>
                </c:pt>
                <c:pt idx="238">
                  <c:v>492</c:v>
                </c:pt>
                <c:pt idx="239">
                  <c:v>495</c:v>
                </c:pt>
                <c:pt idx="240">
                  <c:v>491</c:v>
                </c:pt>
                <c:pt idx="241">
                  <c:v>427</c:v>
                </c:pt>
                <c:pt idx="242">
                  <c:v>414</c:v>
                </c:pt>
                <c:pt idx="243">
                  <c:v>411</c:v>
                </c:pt>
                <c:pt idx="244">
                  <c:v>375</c:v>
                </c:pt>
                <c:pt idx="245">
                  <c:v>355</c:v>
                </c:pt>
                <c:pt idx="246">
                  <c:v>354</c:v>
                </c:pt>
                <c:pt idx="247">
                  <c:v>350</c:v>
                </c:pt>
                <c:pt idx="248">
                  <c:v>314</c:v>
                </c:pt>
                <c:pt idx="249">
                  <c:v>305</c:v>
                </c:pt>
                <c:pt idx="250">
                  <c:v>286</c:v>
                </c:pt>
                <c:pt idx="251">
                  <c:v>271</c:v>
                </c:pt>
                <c:pt idx="252">
                  <c:v>257</c:v>
                </c:pt>
                <c:pt idx="253">
                  <c:v>259</c:v>
                </c:pt>
                <c:pt idx="254">
                  <c:v>254</c:v>
                </c:pt>
                <c:pt idx="255">
                  <c:v>232</c:v>
                </c:pt>
                <c:pt idx="256">
                  <c:v>214</c:v>
                </c:pt>
                <c:pt idx="257">
                  <c:v>204</c:v>
                </c:pt>
                <c:pt idx="258">
                  <c:v>198</c:v>
                </c:pt>
                <c:pt idx="259">
                  <c:v>190</c:v>
                </c:pt>
                <c:pt idx="260">
                  <c:v>190</c:v>
                </c:pt>
                <c:pt idx="261">
                  <c:v>188</c:v>
                </c:pt>
                <c:pt idx="262">
                  <c:v>173</c:v>
                </c:pt>
                <c:pt idx="263">
                  <c:v>171</c:v>
                </c:pt>
                <c:pt idx="264">
                  <c:v>173</c:v>
                </c:pt>
                <c:pt idx="265">
                  <c:v>157</c:v>
                </c:pt>
                <c:pt idx="266">
                  <c:v>144</c:v>
                </c:pt>
                <c:pt idx="267">
                  <c:v>141</c:v>
                </c:pt>
                <c:pt idx="268">
                  <c:v>138</c:v>
                </c:pt>
                <c:pt idx="269">
                  <c:v>123</c:v>
                </c:pt>
                <c:pt idx="270">
                  <c:v>130</c:v>
                </c:pt>
                <c:pt idx="271">
                  <c:v>132</c:v>
                </c:pt>
                <c:pt idx="272">
                  <c:v>135</c:v>
                </c:pt>
                <c:pt idx="273">
                  <c:v>136</c:v>
                </c:pt>
              </c:numCache>
            </c:numRef>
          </c:val>
          <c:smooth val="0"/>
          <c:extLst>
            <c:ext xmlns:c16="http://schemas.microsoft.com/office/drawing/2014/chart" uri="{C3380CC4-5D6E-409C-BE32-E72D297353CC}">
              <c16:uniqueId val="{00000001-E8FD-43E4-BA1D-0B494D841FF9}"/>
            </c:ext>
          </c:extLst>
        </c:ser>
        <c:dLbls>
          <c:showLegendKey val="0"/>
          <c:showVal val="0"/>
          <c:showCatName val="0"/>
          <c:showSerName val="0"/>
          <c:showPercent val="0"/>
          <c:showBubbleSize val="0"/>
        </c:dLbls>
        <c:smooth val="0"/>
        <c:axId val="604314152"/>
        <c:axId val="604312192"/>
      </c:lineChart>
      <c:catAx>
        <c:axId val="604314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vert="horz"/>
          <a:lstStyle/>
          <a:p>
            <a:pPr>
              <a:defRPr/>
            </a:pPr>
            <a:endParaRPr lang="cs-CZ"/>
          </a:p>
        </c:txPr>
        <c:crossAx val="604312192"/>
        <c:crosses val="autoZero"/>
        <c:auto val="1"/>
        <c:lblAlgn val="ctr"/>
        <c:lblOffset val="100"/>
        <c:tickLblSkip val="7"/>
        <c:noMultiLvlLbl val="1"/>
      </c:catAx>
      <c:valAx>
        <c:axId val="604312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effectLst/>
        </c:spPr>
        <c:txPr>
          <a:bodyPr rot="-60000000" vert="horz"/>
          <a:lstStyle/>
          <a:p>
            <a:pPr>
              <a:defRPr/>
            </a:pPr>
            <a:endParaRPr lang="cs-CZ"/>
          </a:p>
        </c:txPr>
        <c:crossAx val="6043141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cs-CZ"/>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edagog, školství</c:v>
                </c:pt>
              </c:strCache>
            </c:strRef>
          </c:tx>
          <c:spPr>
            <a:solidFill>
              <a:srgbClr val="99CCFF"/>
            </a:solidFill>
            <a:ln>
              <a:noFill/>
            </a:ln>
            <a:effectLst/>
          </c:spPr>
          <c:invertIfNegative val="0"/>
          <c:trendline>
            <c:spPr>
              <a:ln w="19050" cap="rnd">
                <a:solidFill>
                  <a:srgbClr val="002060"/>
                </a:solidFill>
                <a:prstDash val="solid"/>
              </a:ln>
              <a:effectLst/>
            </c:spPr>
            <c:trendlineType val="movingAvg"/>
            <c:period val="7"/>
            <c:dispRSqr val="0"/>
            <c:dispEq val="0"/>
          </c:trendline>
          <c:cat>
            <c:strRef>
              <c:f>Sheet1!$A$2:$A$275</c:f>
              <c:strCache>
                <c:ptCount val="274"/>
                <c:pt idx="0">
                  <c:v>4-IX.</c:v>
                </c:pt>
                <c:pt idx="1">
                  <c:v>5-IX.</c:v>
                </c:pt>
                <c:pt idx="2">
                  <c:v>6-IX.</c:v>
                </c:pt>
                <c:pt idx="3">
                  <c:v>7-IX.</c:v>
                </c:pt>
                <c:pt idx="4">
                  <c:v>8-IX.</c:v>
                </c:pt>
                <c:pt idx="5">
                  <c:v>9-IX.</c:v>
                </c:pt>
                <c:pt idx="6">
                  <c:v>10-IX.</c:v>
                </c:pt>
                <c:pt idx="7">
                  <c:v>11-IX.</c:v>
                </c:pt>
                <c:pt idx="8">
                  <c:v>12-IX.</c:v>
                </c:pt>
                <c:pt idx="9">
                  <c:v>13-IX.</c:v>
                </c:pt>
                <c:pt idx="10">
                  <c:v>14-IX.</c:v>
                </c:pt>
                <c:pt idx="11">
                  <c:v>15-IX.</c:v>
                </c:pt>
                <c:pt idx="12">
                  <c:v>16-IX.</c:v>
                </c:pt>
                <c:pt idx="13">
                  <c:v>17-IX.</c:v>
                </c:pt>
                <c:pt idx="14">
                  <c:v>18-IX.</c:v>
                </c:pt>
                <c:pt idx="15">
                  <c:v>19-IX.</c:v>
                </c:pt>
                <c:pt idx="16">
                  <c:v>20-IX.</c:v>
                </c:pt>
                <c:pt idx="17">
                  <c:v>21-IX.</c:v>
                </c:pt>
                <c:pt idx="18">
                  <c:v>22-IX.</c:v>
                </c:pt>
                <c:pt idx="19">
                  <c:v>23-IX.</c:v>
                </c:pt>
                <c:pt idx="20">
                  <c:v>24-IX.</c:v>
                </c:pt>
                <c:pt idx="21">
                  <c:v>25-IX.</c:v>
                </c:pt>
                <c:pt idx="22">
                  <c:v>26-IX.</c:v>
                </c:pt>
                <c:pt idx="23">
                  <c:v>27-IX.</c:v>
                </c:pt>
                <c:pt idx="24">
                  <c:v>28-IX.</c:v>
                </c:pt>
                <c:pt idx="25">
                  <c:v>29-IX.</c:v>
                </c:pt>
                <c:pt idx="26">
                  <c:v>30-IX.</c:v>
                </c:pt>
                <c:pt idx="27">
                  <c:v>1-X.</c:v>
                </c:pt>
                <c:pt idx="28">
                  <c:v>2-X.</c:v>
                </c:pt>
                <c:pt idx="29">
                  <c:v>3-X.</c:v>
                </c:pt>
                <c:pt idx="30">
                  <c:v>4-X.</c:v>
                </c:pt>
                <c:pt idx="31">
                  <c:v>5-X.</c:v>
                </c:pt>
                <c:pt idx="32">
                  <c:v>6-X.</c:v>
                </c:pt>
                <c:pt idx="33">
                  <c:v>7-X.</c:v>
                </c:pt>
                <c:pt idx="34">
                  <c:v>8-X.</c:v>
                </c:pt>
                <c:pt idx="35">
                  <c:v>9-X.</c:v>
                </c:pt>
                <c:pt idx="36">
                  <c:v>10-X.</c:v>
                </c:pt>
                <c:pt idx="37">
                  <c:v>11-X.</c:v>
                </c:pt>
                <c:pt idx="38">
                  <c:v>12-X.</c:v>
                </c:pt>
                <c:pt idx="39">
                  <c:v>13-X.</c:v>
                </c:pt>
                <c:pt idx="40">
                  <c:v>14-X.</c:v>
                </c:pt>
                <c:pt idx="41">
                  <c:v>15-X.</c:v>
                </c:pt>
                <c:pt idx="42">
                  <c:v>16-X.</c:v>
                </c:pt>
                <c:pt idx="43">
                  <c:v>17-X.</c:v>
                </c:pt>
                <c:pt idx="44">
                  <c:v>18-X.</c:v>
                </c:pt>
                <c:pt idx="45">
                  <c:v>19-X.</c:v>
                </c:pt>
                <c:pt idx="46">
                  <c:v>20-X.</c:v>
                </c:pt>
                <c:pt idx="47">
                  <c:v>21-X.</c:v>
                </c:pt>
                <c:pt idx="48">
                  <c:v>22-X.</c:v>
                </c:pt>
                <c:pt idx="49">
                  <c:v>23-X.</c:v>
                </c:pt>
                <c:pt idx="50">
                  <c:v>24-X.</c:v>
                </c:pt>
                <c:pt idx="51">
                  <c:v>25-X.</c:v>
                </c:pt>
                <c:pt idx="52">
                  <c:v>26-X.</c:v>
                </c:pt>
                <c:pt idx="53">
                  <c:v>27-X.</c:v>
                </c:pt>
                <c:pt idx="54">
                  <c:v>28-X.</c:v>
                </c:pt>
                <c:pt idx="55">
                  <c:v>29-X.</c:v>
                </c:pt>
                <c:pt idx="56">
                  <c:v>30-X.</c:v>
                </c:pt>
                <c:pt idx="57">
                  <c:v>31-X.</c:v>
                </c:pt>
                <c:pt idx="58">
                  <c:v>1-XI.</c:v>
                </c:pt>
                <c:pt idx="59">
                  <c:v>2-XI.</c:v>
                </c:pt>
                <c:pt idx="60">
                  <c:v>3-XI.</c:v>
                </c:pt>
                <c:pt idx="61">
                  <c:v>4-XI.</c:v>
                </c:pt>
                <c:pt idx="62">
                  <c:v>5-XI.</c:v>
                </c:pt>
                <c:pt idx="63">
                  <c:v>6-XI.</c:v>
                </c:pt>
                <c:pt idx="64">
                  <c:v>7-XI.</c:v>
                </c:pt>
                <c:pt idx="65">
                  <c:v>8-XI.</c:v>
                </c:pt>
                <c:pt idx="66">
                  <c:v>9-XI.</c:v>
                </c:pt>
                <c:pt idx="67">
                  <c:v>10-XI.</c:v>
                </c:pt>
                <c:pt idx="68">
                  <c:v>11-XI.</c:v>
                </c:pt>
                <c:pt idx="69">
                  <c:v>12-XI.</c:v>
                </c:pt>
                <c:pt idx="70">
                  <c:v>13-XI.</c:v>
                </c:pt>
                <c:pt idx="71">
                  <c:v>14-XI.</c:v>
                </c:pt>
                <c:pt idx="72">
                  <c:v>15-XI.</c:v>
                </c:pt>
                <c:pt idx="73">
                  <c:v>16-XI.</c:v>
                </c:pt>
                <c:pt idx="74">
                  <c:v>17-XI.</c:v>
                </c:pt>
                <c:pt idx="75">
                  <c:v>18-XI.</c:v>
                </c:pt>
                <c:pt idx="76">
                  <c:v>19-XI.</c:v>
                </c:pt>
                <c:pt idx="77">
                  <c:v>20-XI.</c:v>
                </c:pt>
                <c:pt idx="78">
                  <c:v>21-XI.</c:v>
                </c:pt>
                <c:pt idx="79">
                  <c:v>22-XI.</c:v>
                </c:pt>
                <c:pt idx="80">
                  <c:v>23-XI.</c:v>
                </c:pt>
                <c:pt idx="81">
                  <c:v>24-XI.</c:v>
                </c:pt>
                <c:pt idx="82">
                  <c:v>25-XI.</c:v>
                </c:pt>
                <c:pt idx="83">
                  <c:v>26-XI.</c:v>
                </c:pt>
                <c:pt idx="84">
                  <c:v>27-XI.</c:v>
                </c:pt>
                <c:pt idx="85">
                  <c:v>28-XI.</c:v>
                </c:pt>
                <c:pt idx="86">
                  <c:v>29-XI.</c:v>
                </c:pt>
                <c:pt idx="87">
                  <c:v>30-XI.</c:v>
                </c:pt>
                <c:pt idx="88">
                  <c:v>1-XII.</c:v>
                </c:pt>
                <c:pt idx="89">
                  <c:v>2-XII.</c:v>
                </c:pt>
                <c:pt idx="90">
                  <c:v>3-XII.</c:v>
                </c:pt>
                <c:pt idx="91">
                  <c:v>4-XII.</c:v>
                </c:pt>
                <c:pt idx="92">
                  <c:v>5-XII.</c:v>
                </c:pt>
                <c:pt idx="93">
                  <c:v>6-XII.</c:v>
                </c:pt>
                <c:pt idx="94">
                  <c:v>7-XII.</c:v>
                </c:pt>
                <c:pt idx="95">
                  <c:v>8-XII.</c:v>
                </c:pt>
                <c:pt idx="96">
                  <c:v>9-XII.</c:v>
                </c:pt>
                <c:pt idx="97">
                  <c:v>10-XII.</c:v>
                </c:pt>
                <c:pt idx="98">
                  <c:v>11-XII.</c:v>
                </c:pt>
                <c:pt idx="99">
                  <c:v>12-XII.</c:v>
                </c:pt>
                <c:pt idx="100">
                  <c:v>13-XII.</c:v>
                </c:pt>
                <c:pt idx="101">
                  <c:v>14-XII.</c:v>
                </c:pt>
                <c:pt idx="102">
                  <c:v>15-XII.</c:v>
                </c:pt>
                <c:pt idx="103">
                  <c:v>16-XII.</c:v>
                </c:pt>
                <c:pt idx="104">
                  <c:v>17-XII.</c:v>
                </c:pt>
                <c:pt idx="105">
                  <c:v>18-XII.</c:v>
                </c:pt>
                <c:pt idx="106">
                  <c:v>19-XII.</c:v>
                </c:pt>
                <c:pt idx="107">
                  <c:v>20-XII.</c:v>
                </c:pt>
                <c:pt idx="108">
                  <c:v>21-XII.</c:v>
                </c:pt>
                <c:pt idx="109">
                  <c:v>22-XII.</c:v>
                </c:pt>
                <c:pt idx="110">
                  <c:v>23-XII.</c:v>
                </c:pt>
                <c:pt idx="111">
                  <c:v>24-XII.</c:v>
                </c:pt>
                <c:pt idx="112">
                  <c:v>25-XII.</c:v>
                </c:pt>
                <c:pt idx="113">
                  <c:v>26-XII.</c:v>
                </c:pt>
                <c:pt idx="114">
                  <c:v>27-XII.</c:v>
                </c:pt>
                <c:pt idx="115">
                  <c:v>28-XII.</c:v>
                </c:pt>
                <c:pt idx="116">
                  <c:v>29-XII.</c:v>
                </c:pt>
                <c:pt idx="117">
                  <c:v>30-XII.</c:v>
                </c:pt>
                <c:pt idx="118">
                  <c:v>31-XII.</c:v>
                </c:pt>
                <c:pt idx="119">
                  <c:v>1-I.</c:v>
                </c:pt>
                <c:pt idx="120">
                  <c:v>2-I.</c:v>
                </c:pt>
                <c:pt idx="121">
                  <c:v>3-I.</c:v>
                </c:pt>
                <c:pt idx="122">
                  <c:v>4-I.</c:v>
                </c:pt>
                <c:pt idx="123">
                  <c:v>5-I.</c:v>
                </c:pt>
                <c:pt idx="124">
                  <c:v>6-I.</c:v>
                </c:pt>
                <c:pt idx="125">
                  <c:v>7-I.</c:v>
                </c:pt>
                <c:pt idx="126">
                  <c:v>8-I.</c:v>
                </c:pt>
                <c:pt idx="127">
                  <c:v>9-I.</c:v>
                </c:pt>
                <c:pt idx="128">
                  <c:v>10-I.</c:v>
                </c:pt>
                <c:pt idx="129">
                  <c:v>11-I.</c:v>
                </c:pt>
                <c:pt idx="130">
                  <c:v>12-I.</c:v>
                </c:pt>
                <c:pt idx="131">
                  <c:v>13-I.</c:v>
                </c:pt>
                <c:pt idx="132">
                  <c:v>14-I.</c:v>
                </c:pt>
                <c:pt idx="133">
                  <c:v>15-I.</c:v>
                </c:pt>
                <c:pt idx="134">
                  <c:v>16-I.</c:v>
                </c:pt>
                <c:pt idx="135">
                  <c:v>17-I.</c:v>
                </c:pt>
                <c:pt idx="136">
                  <c:v>18-I.</c:v>
                </c:pt>
                <c:pt idx="137">
                  <c:v>19-I.</c:v>
                </c:pt>
                <c:pt idx="138">
                  <c:v>20-I.</c:v>
                </c:pt>
                <c:pt idx="139">
                  <c:v>21-I.</c:v>
                </c:pt>
                <c:pt idx="140">
                  <c:v>22-I.</c:v>
                </c:pt>
                <c:pt idx="141">
                  <c:v>23-I.</c:v>
                </c:pt>
                <c:pt idx="142">
                  <c:v>24-I.</c:v>
                </c:pt>
                <c:pt idx="143">
                  <c:v>25-I.</c:v>
                </c:pt>
                <c:pt idx="144">
                  <c:v>26-I.</c:v>
                </c:pt>
                <c:pt idx="145">
                  <c:v>27-I.</c:v>
                </c:pt>
                <c:pt idx="146">
                  <c:v>28-I.</c:v>
                </c:pt>
                <c:pt idx="147">
                  <c:v>29-I.</c:v>
                </c:pt>
                <c:pt idx="148">
                  <c:v>30-I.</c:v>
                </c:pt>
                <c:pt idx="149">
                  <c:v>31-I.</c:v>
                </c:pt>
                <c:pt idx="150">
                  <c:v>1-II.</c:v>
                </c:pt>
                <c:pt idx="151">
                  <c:v>2-II.</c:v>
                </c:pt>
                <c:pt idx="152">
                  <c:v>3-II.</c:v>
                </c:pt>
                <c:pt idx="153">
                  <c:v>4-II.</c:v>
                </c:pt>
                <c:pt idx="154">
                  <c:v>5-II.</c:v>
                </c:pt>
                <c:pt idx="155">
                  <c:v>6-II.</c:v>
                </c:pt>
                <c:pt idx="156">
                  <c:v>7-II.</c:v>
                </c:pt>
                <c:pt idx="157">
                  <c:v>8-II.</c:v>
                </c:pt>
                <c:pt idx="158">
                  <c:v>9-II.</c:v>
                </c:pt>
                <c:pt idx="159">
                  <c:v>10-II.</c:v>
                </c:pt>
                <c:pt idx="160">
                  <c:v>11-II.</c:v>
                </c:pt>
                <c:pt idx="161">
                  <c:v>12-II.</c:v>
                </c:pt>
                <c:pt idx="162">
                  <c:v>13-II.</c:v>
                </c:pt>
                <c:pt idx="163">
                  <c:v>14-II.</c:v>
                </c:pt>
                <c:pt idx="164">
                  <c:v>15-II.</c:v>
                </c:pt>
                <c:pt idx="165">
                  <c:v>16-II.</c:v>
                </c:pt>
                <c:pt idx="166">
                  <c:v>17-II.</c:v>
                </c:pt>
                <c:pt idx="167">
                  <c:v>18-II.</c:v>
                </c:pt>
                <c:pt idx="168">
                  <c:v>19-II.</c:v>
                </c:pt>
                <c:pt idx="169">
                  <c:v>20-II.</c:v>
                </c:pt>
                <c:pt idx="170">
                  <c:v>21-II.</c:v>
                </c:pt>
                <c:pt idx="171">
                  <c:v>22-II.</c:v>
                </c:pt>
                <c:pt idx="172">
                  <c:v>23-II.</c:v>
                </c:pt>
                <c:pt idx="173">
                  <c:v>24-II.</c:v>
                </c:pt>
                <c:pt idx="174">
                  <c:v>25-II.</c:v>
                </c:pt>
                <c:pt idx="175">
                  <c:v>26-II.</c:v>
                </c:pt>
                <c:pt idx="176">
                  <c:v>27-II.</c:v>
                </c:pt>
                <c:pt idx="177">
                  <c:v>28-II.</c:v>
                </c:pt>
                <c:pt idx="178">
                  <c:v>1-III.</c:v>
                </c:pt>
                <c:pt idx="179">
                  <c:v>2-III.</c:v>
                </c:pt>
                <c:pt idx="180">
                  <c:v>3-III.</c:v>
                </c:pt>
                <c:pt idx="181">
                  <c:v>4-III.</c:v>
                </c:pt>
                <c:pt idx="182">
                  <c:v>5-III.</c:v>
                </c:pt>
                <c:pt idx="183">
                  <c:v>6-III.</c:v>
                </c:pt>
                <c:pt idx="184">
                  <c:v>7-III.</c:v>
                </c:pt>
                <c:pt idx="185">
                  <c:v>8-III.</c:v>
                </c:pt>
                <c:pt idx="186">
                  <c:v>9-III.</c:v>
                </c:pt>
                <c:pt idx="187">
                  <c:v>10-III.</c:v>
                </c:pt>
                <c:pt idx="188">
                  <c:v>11-III.</c:v>
                </c:pt>
                <c:pt idx="189">
                  <c:v>12-III.</c:v>
                </c:pt>
                <c:pt idx="190">
                  <c:v>13-III.</c:v>
                </c:pt>
                <c:pt idx="191">
                  <c:v>14-III.</c:v>
                </c:pt>
                <c:pt idx="192">
                  <c:v>15-III.</c:v>
                </c:pt>
                <c:pt idx="193">
                  <c:v>16-III.</c:v>
                </c:pt>
                <c:pt idx="194">
                  <c:v>17-III.</c:v>
                </c:pt>
                <c:pt idx="195">
                  <c:v>18-III.</c:v>
                </c:pt>
                <c:pt idx="196">
                  <c:v>19-III.</c:v>
                </c:pt>
                <c:pt idx="197">
                  <c:v>20-III.</c:v>
                </c:pt>
                <c:pt idx="198">
                  <c:v>21-III.</c:v>
                </c:pt>
                <c:pt idx="199">
                  <c:v>22-III.</c:v>
                </c:pt>
                <c:pt idx="200">
                  <c:v>23-III.</c:v>
                </c:pt>
                <c:pt idx="201">
                  <c:v>24-III.</c:v>
                </c:pt>
                <c:pt idx="202">
                  <c:v>25-III.</c:v>
                </c:pt>
                <c:pt idx="203">
                  <c:v>26-III.</c:v>
                </c:pt>
                <c:pt idx="204">
                  <c:v>27-III.</c:v>
                </c:pt>
                <c:pt idx="205">
                  <c:v>28-III.</c:v>
                </c:pt>
                <c:pt idx="206">
                  <c:v>29-III.</c:v>
                </c:pt>
                <c:pt idx="207">
                  <c:v>30-III.</c:v>
                </c:pt>
                <c:pt idx="208">
                  <c:v>31-III.</c:v>
                </c:pt>
                <c:pt idx="209">
                  <c:v>1-IV.</c:v>
                </c:pt>
                <c:pt idx="210">
                  <c:v>2-IV.</c:v>
                </c:pt>
                <c:pt idx="211">
                  <c:v>3-IV.</c:v>
                </c:pt>
                <c:pt idx="212">
                  <c:v>4-IV.</c:v>
                </c:pt>
                <c:pt idx="213">
                  <c:v>5-IV.</c:v>
                </c:pt>
                <c:pt idx="214">
                  <c:v>6-IV.</c:v>
                </c:pt>
                <c:pt idx="215">
                  <c:v>7-IV.</c:v>
                </c:pt>
                <c:pt idx="216">
                  <c:v>8-IV.</c:v>
                </c:pt>
                <c:pt idx="217">
                  <c:v>9-IV.</c:v>
                </c:pt>
                <c:pt idx="218">
                  <c:v>10-IV.</c:v>
                </c:pt>
                <c:pt idx="219">
                  <c:v>11-IV.</c:v>
                </c:pt>
                <c:pt idx="220">
                  <c:v>12-IV.</c:v>
                </c:pt>
                <c:pt idx="221">
                  <c:v>13-IV.</c:v>
                </c:pt>
                <c:pt idx="222">
                  <c:v>14-IV.</c:v>
                </c:pt>
                <c:pt idx="223">
                  <c:v>15-IV.</c:v>
                </c:pt>
                <c:pt idx="224">
                  <c:v>16-IV.</c:v>
                </c:pt>
                <c:pt idx="225">
                  <c:v>17-IV.</c:v>
                </c:pt>
                <c:pt idx="226">
                  <c:v>18-IV.</c:v>
                </c:pt>
                <c:pt idx="227">
                  <c:v>19-IV.</c:v>
                </c:pt>
                <c:pt idx="228">
                  <c:v>20-IV.</c:v>
                </c:pt>
                <c:pt idx="229">
                  <c:v>21-IV.</c:v>
                </c:pt>
                <c:pt idx="230">
                  <c:v>22-IV.</c:v>
                </c:pt>
                <c:pt idx="231">
                  <c:v>23-IV.</c:v>
                </c:pt>
                <c:pt idx="232">
                  <c:v>24-IV.</c:v>
                </c:pt>
                <c:pt idx="233">
                  <c:v>25-IV.</c:v>
                </c:pt>
                <c:pt idx="234">
                  <c:v>26-IV.</c:v>
                </c:pt>
                <c:pt idx="235">
                  <c:v>27-IV.</c:v>
                </c:pt>
                <c:pt idx="236">
                  <c:v>28-IV.</c:v>
                </c:pt>
                <c:pt idx="237">
                  <c:v>29-IV.</c:v>
                </c:pt>
                <c:pt idx="238">
                  <c:v>30-IV.</c:v>
                </c:pt>
                <c:pt idx="239">
                  <c:v>1-V.</c:v>
                </c:pt>
                <c:pt idx="240">
                  <c:v>2-V.</c:v>
                </c:pt>
                <c:pt idx="241">
                  <c:v>3-V.</c:v>
                </c:pt>
                <c:pt idx="242">
                  <c:v>4-V.</c:v>
                </c:pt>
                <c:pt idx="243">
                  <c:v>5-V.</c:v>
                </c:pt>
                <c:pt idx="244">
                  <c:v>6-V.</c:v>
                </c:pt>
                <c:pt idx="245">
                  <c:v>7-V.</c:v>
                </c:pt>
                <c:pt idx="246">
                  <c:v>8-V.</c:v>
                </c:pt>
                <c:pt idx="247">
                  <c:v>9-V.</c:v>
                </c:pt>
                <c:pt idx="248">
                  <c:v>10-V.</c:v>
                </c:pt>
                <c:pt idx="249">
                  <c:v>11-V.</c:v>
                </c:pt>
                <c:pt idx="250">
                  <c:v>12-V.</c:v>
                </c:pt>
                <c:pt idx="251">
                  <c:v>13-V.</c:v>
                </c:pt>
                <c:pt idx="252">
                  <c:v>14-V.</c:v>
                </c:pt>
                <c:pt idx="253">
                  <c:v>15-V.</c:v>
                </c:pt>
                <c:pt idx="254">
                  <c:v>16-V.</c:v>
                </c:pt>
                <c:pt idx="255">
                  <c:v>17-V.</c:v>
                </c:pt>
                <c:pt idx="256">
                  <c:v>18-V.</c:v>
                </c:pt>
                <c:pt idx="257">
                  <c:v>19-V.</c:v>
                </c:pt>
                <c:pt idx="258">
                  <c:v>20-V.</c:v>
                </c:pt>
                <c:pt idx="259">
                  <c:v>21-V.</c:v>
                </c:pt>
                <c:pt idx="260">
                  <c:v>22-V.</c:v>
                </c:pt>
                <c:pt idx="261">
                  <c:v>23-V.</c:v>
                </c:pt>
                <c:pt idx="262">
                  <c:v>24-V.</c:v>
                </c:pt>
                <c:pt idx="263">
                  <c:v>25-V.</c:v>
                </c:pt>
                <c:pt idx="264">
                  <c:v>26-V.</c:v>
                </c:pt>
                <c:pt idx="265">
                  <c:v>27-V.</c:v>
                </c:pt>
                <c:pt idx="266">
                  <c:v>28-V.</c:v>
                </c:pt>
                <c:pt idx="267">
                  <c:v>29-V.</c:v>
                </c:pt>
                <c:pt idx="268">
                  <c:v>30-V.</c:v>
                </c:pt>
                <c:pt idx="269">
                  <c:v>31-V.</c:v>
                </c:pt>
                <c:pt idx="270">
                  <c:v>1-VI.</c:v>
                </c:pt>
                <c:pt idx="271">
                  <c:v>2-VI.</c:v>
                </c:pt>
                <c:pt idx="272">
                  <c:v>3-VI.</c:v>
                </c:pt>
                <c:pt idx="273">
                  <c:v>4-VI.</c:v>
                </c:pt>
              </c:strCache>
            </c:strRef>
          </c:cat>
          <c:val>
            <c:numRef>
              <c:f>Sheet1!$B$2:$B$275</c:f>
              <c:numCache>
                <c:formatCode>#\ ##0_ ;\-#\ ##0\ </c:formatCode>
                <c:ptCount val="274"/>
                <c:pt idx="0">
                  <c:v>28</c:v>
                </c:pt>
                <c:pt idx="1">
                  <c:v>23</c:v>
                </c:pt>
                <c:pt idx="2">
                  <c:v>9</c:v>
                </c:pt>
                <c:pt idx="3">
                  <c:v>24</c:v>
                </c:pt>
                <c:pt idx="4">
                  <c:v>55</c:v>
                </c:pt>
                <c:pt idx="5">
                  <c:v>69</c:v>
                </c:pt>
                <c:pt idx="6">
                  <c:v>93</c:v>
                </c:pt>
                <c:pt idx="7">
                  <c:v>62</c:v>
                </c:pt>
                <c:pt idx="8">
                  <c:v>50</c:v>
                </c:pt>
                <c:pt idx="9">
                  <c:v>41</c:v>
                </c:pt>
                <c:pt idx="10">
                  <c:v>67</c:v>
                </c:pt>
                <c:pt idx="11">
                  <c:v>118</c:v>
                </c:pt>
                <c:pt idx="12">
                  <c:v>128</c:v>
                </c:pt>
                <c:pt idx="13">
                  <c:v>163</c:v>
                </c:pt>
                <c:pt idx="14">
                  <c:v>100</c:v>
                </c:pt>
                <c:pt idx="15">
                  <c:v>103</c:v>
                </c:pt>
                <c:pt idx="16">
                  <c:v>46</c:v>
                </c:pt>
                <c:pt idx="17">
                  <c:v>85</c:v>
                </c:pt>
                <c:pt idx="18">
                  <c:v>140</c:v>
                </c:pt>
                <c:pt idx="19">
                  <c:v>115</c:v>
                </c:pt>
                <c:pt idx="20">
                  <c:v>136</c:v>
                </c:pt>
                <c:pt idx="21">
                  <c:v>150</c:v>
                </c:pt>
                <c:pt idx="22">
                  <c:v>110</c:v>
                </c:pt>
                <c:pt idx="23">
                  <c:v>67</c:v>
                </c:pt>
                <c:pt idx="24">
                  <c:v>68</c:v>
                </c:pt>
                <c:pt idx="25">
                  <c:v>111</c:v>
                </c:pt>
                <c:pt idx="26">
                  <c:v>155</c:v>
                </c:pt>
                <c:pt idx="27">
                  <c:v>201</c:v>
                </c:pt>
                <c:pt idx="28">
                  <c:v>177</c:v>
                </c:pt>
                <c:pt idx="29">
                  <c:v>132</c:v>
                </c:pt>
                <c:pt idx="30">
                  <c:v>86</c:v>
                </c:pt>
                <c:pt idx="31">
                  <c:v>153</c:v>
                </c:pt>
                <c:pt idx="32">
                  <c:v>261</c:v>
                </c:pt>
                <c:pt idx="33">
                  <c:v>274</c:v>
                </c:pt>
                <c:pt idx="34">
                  <c:v>266</c:v>
                </c:pt>
                <c:pt idx="35">
                  <c:v>366</c:v>
                </c:pt>
                <c:pt idx="36">
                  <c:v>211</c:v>
                </c:pt>
                <c:pt idx="37">
                  <c:v>159</c:v>
                </c:pt>
                <c:pt idx="38">
                  <c:v>204</c:v>
                </c:pt>
                <c:pt idx="39">
                  <c:v>448</c:v>
                </c:pt>
                <c:pt idx="40">
                  <c:v>464</c:v>
                </c:pt>
                <c:pt idx="41">
                  <c:v>458</c:v>
                </c:pt>
                <c:pt idx="42">
                  <c:v>453</c:v>
                </c:pt>
                <c:pt idx="43">
                  <c:v>350</c:v>
                </c:pt>
                <c:pt idx="44">
                  <c:v>239</c:v>
                </c:pt>
                <c:pt idx="45">
                  <c:v>323</c:v>
                </c:pt>
                <c:pt idx="46">
                  <c:v>494</c:v>
                </c:pt>
                <c:pt idx="47">
                  <c:v>612</c:v>
                </c:pt>
                <c:pt idx="48">
                  <c:v>538</c:v>
                </c:pt>
                <c:pt idx="49">
                  <c:v>576</c:v>
                </c:pt>
                <c:pt idx="50">
                  <c:v>489</c:v>
                </c:pt>
                <c:pt idx="51">
                  <c:v>313</c:v>
                </c:pt>
                <c:pt idx="52">
                  <c:v>340</c:v>
                </c:pt>
                <c:pt idx="53">
                  <c:v>520</c:v>
                </c:pt>
                <c:pt idx="54">
                  <c:v>443</c:v>
                </c:pt>
                <c:pt idx="55">
                  <c:v>433</c:v>
                </c:pt>
                <c:pt idx="56">
                  <c:v>395</c:v>
                </c:pt>
                <c:pt idx="57">
                  <c:v>358</c:v>
                </c:pt>
                <c:pt idx="58">
                  <c:v>207</c:v>
                </c:pt>
                <c:pt idx="59">
                  <c:v>288</c:v>
                </c:pt>
                <c:pt idx="60">
                  <c:v>296</c:v>
                </c:pt>
                <c:pt idx="61">
                  <c:v>418</c:v>
                </c:pt>
                <c:pt idx="62">
                  <c:v>350</c:v>
                </c:pt>
                <c:pt idx="63">
                  <c:v>261</c:v>
                </c:pt>
                <c:pt idx="64">
                  <c:v>214</c:v>
                </c:pt>
                <c:pt idx="65">
                  <c:v>91</c:v>
                </c:pt>
                <c:pt idx="66">
                  <c:v>154</c:v>
                </c:pt>
                <c:pt idx="67">
                  <c:v>217</c:v>
                </c:pt>
                <c:pt idx="68">
                  <c:v>203</c:v>
                </c:pt>
                <c:pt idx="69">
                  <c:v>172</c:v>
                </c:pt>
                <c:pt idx="70">
                  <c:v>173</c:v>
                </c:pt>
                <c:pt idx="71">
                  <c:v>113</c:v>
                </c:pt>
                <c:pt idx="72">
                  <c:v>44</c:v>
                </c:pt>
                <c:pt idx="73">
                  <c:v>127</c:v>
                </c:pt>
                <c:pt idx="74">
                  <c:v>126</c:v>
                </c:pt>
                <c:pt idx="75">
                  <c:v>132</c:v>
                </c:pt>
                <c:pt idx="76">
                  <c:v>184</c:v>
                </c:pt>
                <c:pt idx="77">
                  <c:v>172</c:v>
                </c:pt>
                <c:pt idx="78">
                  <c:v>88</c:v>
                </c:pt>
                <c:pt idx="79">
                  <c:v>34</c:v>
                </c:pt>
                <c:pt idx="80">
                  <c:v>103</c:v>
                </c:pt>
                <c:pt idx="81">
                  <c:v>159</c:v>
                </c:pt>
                <c:pt idx="82">
                  <c:v>159</c:v>
                </c:pt>
                <c:pt idx="83">
                  <c:v>109</c:v>
                </c:pt>
                <c:pt idx="84">
                  <c:v>123</c:v>
                </c:pt>
                <c:pt idx="85">
                  <c:v>77</c:v>
                </c:pt>
                <c:pt idx="86">
                  <c:v>26</c:v>
                </c:pt>
                <c:pt idx="87">
                  <c:v>119</c:v>
                </c:pt>
                <c:pt idx="88">
                  <c:v>201</c:v>
                </c:pt>
                <c:pt idx="89">
                  <c:v>172</c:v>
                </c:pt>
                <c:pt idx="90">
                  <c:v>155</c:v>
                </c:pt>
                <c:pt idx="91">
                  <c:v>181</c:v>
                </c:pt>
                <c:pt idx="92">
                  <c:v>120</c:v>
                </c:pt>
                <c:pt idx="93">
                  <c:v>40</c:v>
                </c:pt>
                <c:pt idx="94">
                  <c:v>191</c:v>
                </c:pt>
                <c:pt idx="95">
                  <c:v>307</c:v>
                </c:pt>
                <c:pt idx="96">
                  <c:v>286</c:v>
                </c:pt>
                <c:pt idx="97">
                  <c:v>268</c:v>
                </c:pt>
                <c:pt idx="98">
                  <c:v>272</c:v>
                </c:pt>
                <c:pt idx="99">
                  <c:v>130</c:v>
                </c:pt>
                <c:pt idx="100">
                  <c:v>78</c:v>
                </c:pt>
                <c:pt idx="101">
                  <c:v>236</c:v>
                </c:pt>
                <c:pt idx="102">
                  <c:v>385</c:v>
                </c:pt>
                <c:pt idx="103">
                  <c:v>361</c:v>
                </c:pt>
                <c:pt idx="104">
                  <c:v>323</c:v>
                </c:pt>
                <c:pt idx="105">
                  <c:v>317</c:v>
                </c:pt>
                <c:pt idx="106">
                  <c:v>194</c:v>
                </c:pt>
                <c:pt idx="107">
                  <c:v>123</c:v>
                </c:pt>
                <c:pt idx="108">
                  <c:v>284</c:v>
                </c:pt>
                <c:pt idx="109">
                  <c:v>401</c:v>
                </c:pt>
                <c:pt idx="110">
                  <c:v>462</c:v>
                </c:pt>
                <c:pt idx="111">
                  <c:v>148</c:v>
                </c:pt>
                <c:pt idx="112">
                  <c:v>90</c:v>
                </c:pt>
                <c:pt idx="113">
                  <c:v>108</c:v>
                </c:pt>
                <c:pt idx="114">
                  <c:v>127</c:v>
                </c:pt>
                <c:pt idx="115">
                  <c:v>343</c:v>
                </c:pt>
                <c:pt idx="116">
                  <c:v>529</c:v>
                </c:pt>
                <c:pt idx="117">
                  <c:v>433</c:v>
                </c:pt>
                <c:pt idx="118">
                  <c:v>349</c:v>
                </c:pt>
                <c:pt idx="119">
                  <c:v>93</c:v>
                </c:pt>
                <c:pt idx="120">
                  <c:v>150</c:v>
                </c:pt>
                <c:pt idx="121">
                  <c:v>191</c:v>
                </c:pt>
                <c:pt idx="122">
                  <c:v>376</c:v>
                </c:pt>
                <c:pt idx="123">
                  <c:v>570</c:v>
                </c:pt>
                <c:pt idx="124">
                  <c:v>525</c:v>
                </c:pt>
                <c:pt idx="125">
                  <c:v>380</c:v>
                </c:pt>
                <c:pt idx="126">
                  <c:v>364</c:v>
                </c:pt>
                <c:pt idx="127">
                  <c:v>244</c:v>
                </c:pt>
                <c:pt idx="128">
                  <c:v>139</c:v>
                </c:pt>
                <c:pt idx="129">
                  <c:v>258</c:v>
                </c:pt>
                <c:pt idx="130">
                  <c:v>358</c:v>
                </c:pt>
                <c:pt idx="131">
                  <c:v>375</c:v>
                </c:pt>
                <c:pt idx="132">
                  <c:v>261</c:v>
                </c:pt>
                <c:pt idx="133">
                  <c:v>337</c:v>
                </c:pt>
                <c:pt idx="134">
                  <c:v>184</c:v>
                </c:pt>
                <c:pt idx="135">
                  <c:v>81</c:v>
                </c:pt>
                <c:pt idx="136">
                  <c:v>244</c:v>
                </c:pt>
                <c:pt idx="137">
                  <c:v>316</c:v>
                </c:pt>
                <c:pt idx="138">
                  <c:v>265</c:v>
                </c:pt>
                <c:pt idx="139">
                  <c:v>246</c:v>
                </c:pt>
                <c:pt idx="140">
                  <c:v>285</c:v>
                </c:pt>
                <c:pt idx="141">
                  <c:v>121</c:v>
                </c:pt>
                <c:pt idx="142">
                  <c:v>82</c:v>
                </c:pt>
                <c:pt idx="143">
                  <c:v>222</c:v>
                </c:pt>
                <c:pt idx="144">
                  <c:v>325</c:v>
                </c:pt>
                <c:pt idx="145">
                  <c:v>323</c:v>
                </c:pt>
                <c:pt idx="146">
                  <c:v>230</c:v>
                </c:pt>
                <c:pt idx="147">
                  <c:v>257</c:v>
                </c:pt>
                <c:pt idx="148">
                  <c:v>119</c:v>
                </c:pt>
                <c:pt idx="149">
                  <c:v>110</c:v>
                </c:pt>
                <c:pt idx="150">
                  <c:v>240</c:v>
                </c:pt>
                <c:pt idx="151">
                  <c:v>308</c:v>
                </c:pt>
                <c:pt idx="152">
                  <c:v>305</c:v>
                </c:pt>
                <c:pt idx="153">
                  <c:v>264</c:v>
                </c:pt>
                <c:pt idx="154">
                  <c:v>244</c:v>
                </c:pt>
                <c:pt idx="155">
                  <c:v>170</c:v>
                </c:pt>
                <c:pt idx="156">
                  <c:v>88</c:v>
                </c:pt>
                <c:pt idx="157">
                  <c:v>260</c:v>
                </c:pt>
                <c:pt idx="158">
                  <c:v>320</c:v>
                </c:pt>
                <c:pt idx="159">
                  <c:v>321</c:v>
                </c:pt>
                <c:pt idx="160" formatCode="General">
                  <c:v>302</c:v>
                </c:pt>
                <c:pt idx="161" formatCode="General">
                  <c:v>288</c:v>
                </c:pt>
                <c:pt idx="162" formatCode="General">
                  <c:v>174</c:v>
                </c:pt>
                <c:pt idx="163" formatCode="General">
                  <c:v>79</c:v>
                </c:pt>
                <c:pt idx="164" formatCode="General">
                  <c:v>303</c:v>
                </c:pt>
                <c:pt idx="165" formatCode="General">
                  <c:v>442</c:v>
                </c:pt>
                <c:pt idx="166" formatCode="General">
                  <c:v>345</c:v>
                </c:pt>
                <c:pt idx="167" formatCode="General">
                  <c:v>373</c:v>
                </c:pt>
                <c:pt idx="168" formatCode="General">
                  <c:v>371</c:v>
                </c:pt>
                <c:pt idx="169" formatCode="General">
                  <c:v>225</c:v>
                </c:pt>
                <c:pt idx="170" formatCode="General">
                  <c:v>148</c:v>
                </c:pt>
                <c:pt idx="171" formatCode="General">
                  <c:v>345</c:v>
                </c:pt>
                <c:pt idx="172" formatCode="General">
                  <c:v>482</c:v>
                </c:pt>
                <c:pt idx="173" formatCode="General">
                  <c:v>417</c:v>
                </c:pt>
                <c:pt idx="174" formatCode="General">
                  <c:v>472</c:v>
                </c:pt>
                <c:pt idx="175" formatCode="General">
                  <c:v>398</c:v>
                </c:pt>
                <c:pt idx="176" formatCode="General">
                  <c:v>261</c:v>
                </c:pt>
                <c:pt idx="177" formatCode="General">
                  <c:v>150</c:v>
                </c:pt>
                <c:pt idx="178" formatCode="General">
                  <c:v>327</c:v>
                </c:pt>
                <c:pt idx="179" formatCode="General">
                  <c:v>451</c:v>
                </c:pt>
                <c:pt idx="180" formatCode="General">
                  <c:v>394</c:v>
                </c:pt>
                <c:pt idx="181" formatCode="General">
                  <c:v>413</c:v>
                </c:pt>
                <c:pt idx="182" formatCode="General">
                  <c:v>320</c:v>
                </c:pt>
                <c:pt idx="183" formatCode="General">
                  <c:v>251</c:v>
                </c:pt>
                <c:pt idx="184" formatCode="General">
                  <c:v>93</c:v>
                </c:pt>
                <c:pt idx="185" formatCode="General">
                  <c:v>227</c:v>
                </c:pt>
                <c:pt idx="186" formatCode="General">
                  <c:v>310</c:v>
                </c:pt>
                <c:pt idx="187" formatCode="General">
                  <c:v>308</c:v>
                </c:pt>
                <c:pt idx="188" formatCode="General">
                  <c:v>223</c:v>
                </c:pt>
                <c:pt idx="189" formatCode="General">
                  <c:v>307</c:v>
                </c:pt>
                <c:pt idx="190" formatCode="General">
                  <c:v>147</c:v>
                </c:pt>
                <c:pt idx="191" formatCode="General">
                  <c:v>59</c:v>
                </c:pt>
                <c:pt idx="192" formatCode="General">
                  <c:v>206</c:v>
                </c:pt>
                <c:pt idx="193" formatCode="General">
                  <c:v>269</c:v>
                </c:pt>
                <c:pt idx="194" formatCode="General">
                  <c:v>243</c:v>
                </c:pt>
                <c:pt idx="195" formatCode="General">
                  <c:v>187</c:v>
                </c:pt>
                <c:pt idx="196" formatCode="General">
                  <c:v>180</c:v>
                </c:pt>
                <c:pt idx="197" formatCode="General">
                  <c:v>94</c:v>
                </c:pt>
                <c:pt idx="198" formatCode="General">
                  <c:v>36</c:v>
                </c:pt>
                <c:pt idx="199" formatCode="General">
                  <c:v>131</c:v>
                </c:pt>
                <c:pt idx="200" formatCode="General">
                  <c:v>201</c:v>
                </c:pt>
                <c:pt idx="201" formatCode="General">
                  <c:v>119</c:v>
                </c:pt>
                <c:pt idx="202" formatCode="General">
                  <c:v>152</c:v>
                </c:pt>
                <c:pt idx="203" formatCode="General">
                  <c:v>125</c:v>
                </c:pt>
                <c:pt idx="204" formatCode="General">
                  <c:v>73</c:v>
                </c:pt>
                <c:pt idx="205" formatCode="General">
                  <c:v>35</c:v>
                </c:pt>
                <c:pt idx="206" formatCode="General">
                  <c:v>113</c:v>
                </c:pt>
                <c:pt idx="207" formatCode="General">
                  <c:v>140</c:v>
                </c:pt>
                <c:pt idx="208" formatCode="General">
                  <c:v>110</c:v>
                </c:pt>
                <c:pt idx="209" formatCode="General">
                  <c:v>82</c:v>
                </c:pt>
                <c:pt idx="210" formatCode="General">
                  <c:v>55</c:v>
                </c:pt>
                <c:pt idx="211" formatCode="General">
                  <c:v>34</c:v>
                </c:pt>
                <c:pt idx="212" formatCode="General">
                  <c:v>35</c:v>
                </c:pt>
                <c:pt idx="213" formatCode="General">
                  <c:v>17</c:v>
                </c:pt>
                <c:pt idx="214" formatCode="General">
                  <c:v>105</c:v>
                </c:pt>
                <c:pt idx="215" formatCode="General">
                  <c:v>118</c:v>
                </c:pt>
                <c:pt idx="216" formatCode="General">
                  <c:v>102</c:v>
                </c:pt>
                <c:pt idx="217" formatCode="General">
                  <c:v>79</c:v>
                </c:pt>
                <c:pt idx="218" formatCode="General">
                  <c:v>34</c:v>
                </c:pt>
                <c:pt idx="219" formatCode="General">
                  <c:v>24</c:v>
                </c:pt>
                <c:pt idx="220" formatCode="General">
                  <c:v>65</c:v>
                </c:pt>
                <c:pt idx="221" formatCode="General">
                  <c:v>85</c:v>
                </c:pt>
                <c:pt idx="222" formatCode="General">
                  <c:v>49</c:v>
                </c:pt>
                <c:pt idx="223" formatCode="General">
                  <c:v>50</c:v>
                </c:pt>
                <c:pt idx="224" formatCode="General">
                  <c:v>45</c:v>
                </c:pt>
                <c:pt idx="225" formatCode="General">
                  <c:v>21</c:v>
                </c:pt>
                <c:pt idx="226" formatCode="General">
                  <c:v>11</c:v>
                </c:pt>
                <c:pt idx="227" formatCode="General">
                  <c:v>65</c:v>
                </c:pt>
                <c:pt idx="228" formatCode="General">
                  <c:v>61</c:v>
                </c:pt>
                <c:pt idx="229" formatCode="General">
                  <c:v>41</c:v>
                </c:pt>
                <c:pt idx="230" formatCode="General">
                  <c:v>37</c:v>
                </c:pt>
                <c:pt idx="231" formatCode="General">
                  <c:v>50</c:v>
                </c:pt>
                <c:pt idx="232" formatCode="General">
                  <c:v>11</c:v>
                </c:pt>
                <c:pt idx="233" formatCode="General">
                  <c:v>13</c:v>
                </c:pt>
                <c:pt idx="234" formatCode="General">
                  <c:v>39</c:v>
                </c:pt>
                <c:pt idx="235" formatCode="General">
                  <c:v>43</c:v>
                </c:pt>
                <c:pt idx="236" formatCode="General">
                  <c:v>34</c:v>
                </c:pt>
                <c:pt idx="237" formatCode="General">
                  <c:v>26</c:v>
                </c:pt>
                <c:pt idx="238" formatCode="General">
                  <c:v>36</c:v>
                </c:pt>
                <c:pt idx="239" formatCode="General">
                  <c:v>15</c:v>
                </c:pt>
                <c:pt idx="240" formatCode="General">
                  <c:v>7</c:v>
                </c:pt>
                <c:pt idx="241" formatCode="General">
                  <c:v>35</c:v>
                </c:pt>
                <c:pt idx="242" formatCode="General">
                  <c:v>32</c:v>
                </c:pt>
                <c:pt idx="243" formatCode="General">
                  <c:v>27</c:v>
                </c:pt>
                <c:pt idx="244" formatCode="General">
                  <c:v>15</c:v>
                </c:pt>
                <c:pt idx="245" formatCode="General">
                  <c:v>21</c:v>
                </c:pt>
                <c:pt idx="246" formatCode="General">
                  <c:v>8</c:v>
                </c:pt>
                <c:pt idx="247" formatCode="General">
                  <c:v>3</c:v>
                </c:pt>
                <c:pt idx="248" formatCode="General">
                  <c:v>21</c:v>
                </c:pt>
                <c:pt idx="249" formatCode="General">
                  <c:v>29</c:v>
                </c:pt>
                <c:pt idx="250" formatCode="General">
                  <c:v>9</c:v>
                </c:pt>
                <c:pt idx="251" formatCode="General">
                  <c:v>17</c:v>
                </c:pt>
                <c:pt idx="252" formatCode="General">
                  <c:v>18</c:v>
                </c:pt>
                <c:pt idx="253" formatCode="General">
                  <c:v>7</c:v>
                </c:pt>
                <c:pt idx="254" formatCode="General">
                  <c:v>4</c:v>
                </c:pt>
                <c:pt idx="255" formatCode="General">
                  <c:v>17</c:v>
                </c:pt>
                <c:pt idx="256" formatCode="General">
                  <c:v>14</c:v>
                </c:pt>
                <c:pt idx="257" formatCode="General">
                  <c:v>10</c:v>
                </c:pt>
                <c:pt idx="258" formatCode="General">
                  <c:v>11</c:v>
                </c:pt>
                <c:pt idx="259" formatCode="General">
                  <c:v>12</c:v>
                </c:pt>
                <c:pt idx="260" formatCode="General">
                  <c:v>4</c:v>
                </c:pt>
                <c:pt idx="261" formatCode="General">
                  <c:v>2</c:v>
                </c:pt>
                <c:pt idx="262" formatCode="General">
                  <c:v>17</c:v>
                </c:pt>
                <c:pt idx="263" formatCode="General">
                  <c:v>15</c:v>
                </c:pt>
                <c:pt idx="264" formatCode="General">
                  <c:v>13</c:v>
                </c:pt>
                <c:pt idx="265" formatCode="General">
                  <c:v>4</c:v>
                </c:pt>
                <c:pt idx="266" formatCode="General">
                  <c:v>3</c:v>
                </c:pt>
                <c:pt idx="267" formatCode="General">
                  <c:v>4</c:v>
                </c:pt>
                <c:pt idx="268" formatCode="General">
                  <c:v>1</c:v>
                </c:pt>
                <c:pt idx="269" formatCode="General">
                  <c:v>4</c:v>
                </c:pt>
                <c:pt idx="270" formatCode="General">
                  <c:v>8</c:v>
                </c:pt>
                <c:pt idx="271" formatCode="General">
                  <c:v>3</c:v>
                </c:pt>
                <c:pt idx="272" formatCode="General">
                  <c:v>4</c:v>
                </c:pt>
                <c:pt idx="273" formatCode="General">
                  <c:v>1</c:v>
                </c:pt>
              </c:numCache>
            </c:numRef>
          </c:val>
          <c:extLst>
            <c:ext xmlns:c16="http://schemas.microsoft.com/office/drawing/2014/chart" uri="{C3380CC4-5D6E-409C-BE32-E72D297353CC}">
              <c16:uniqueId val="{00000001-D32B-4678-9FFD-46841F3CB3BA}"/>
            </c:ext>
          </c:extLst>
        </c:ser>
        <c:dLbls>
          <c:showLegendKey val="0"/>
          <c:showVal val="0"/>
          <c:showCatName val="0"/>
          <c:showSerName val="0"/>
          <c:showPercent val="0"/>
          <c:showBubbleSize val="0"/>
        </c:dLbls>
        <c:gapWidth val="20"/>
        <c:overlap val="-27"/>
        <c:axId val="529925759"/>
        <c:axId val="533925071"/>
      </c:barChart>
      <c:catAx>
        <c:axId val="5299257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533925071"/>
        <c:crosses val="autoZero"/>
        <c:auto val="1"/>
        <c:lblAlgn val="ctr"/>
        <c:lblOffset val="100"/>
        <c:tickLblSkip val="7"/>
        <c:noMultiLvlLbl val="1"/>
      </c:catAx>
      <c:valAx>
        <c:axId val="533925071"/>
        <c:scaling>
          <c:orientation val="minMax"/>
        </c:scaling>
        <c:delete val="0"/>
        <c:axPos val="l"/>
        <c:majorGridlines>
          <c:spPr>
            <a:ln w="9525" cap="flat" cmpd="sng" algn="ctr">
              <a:solidFill>
                <a:schemeClr val="bg1">
                  <a:lumMod val="85000"/>
                </a:schemeClr>
              </a:solidFill>
              <a:round/>
            </a:ln>
            <a:effectLst/>
          </c:spPr>
        </c:majorGridlines>
        <c:numFmt formatCode="#\ ##0_ ;\-#\ ##0\ "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529925759"/>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7"/>
            <c:invertIfNegative val="0"/>
            <c:bubble3D val="0"/>
            <c:spPr>
              <a:solidFill>
                <a:srgbClr val="C00000"/>
              </a:solidFill>
              <a:ln>
                <a:noFill/>
              </a:ln>
              <a:effectLst/>
            </c:spPr>
            <c:extLst>
              <c:ext xmlns:c16="http://schemas.microsoft.com/office/drawing/2014/chart" uri="{C3380CC4-5D6E-409C-BE32-E72D297353CC}">
                <c16:uniqueId val="{00000002-FA1A-47EA-B0AA-AA2F58B4B910}"/>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Hornictví</c:v>
                </c:pt>
                <c:pt idx="1">
                  <c:v>Zdravotnické zařízení</c:v>
                </c:pt>
                <c:pt idx="2">
                  <c:v>Zařízení sociálních služeb</c:v>
                </c:pt>
                <c:pt idx="3">
                  <c:v>Výrobní závod</c:v>
                </c:pt>
                <c:pt idx="4">
                  <c:v>Pracoviště</c:v>
                </c:pt>
                <c:pt idx="5">
                  <c:v>Setkání známých / příbuzných</c:v>
                </c:pt>
                <c:pt idx="6">
                  <c:v>Sportovní</c:v>
                </c:pt>
                <c:pt idx="7">
                  <c:v>Školské zařízení</c:v>
                </c:pt>
                <c:pt idx="8">
                  <c:v>Prodejna, obchod</c:v>
                </c:pt>
                <c:pt idx="9">
                  <c:v>Ubytovací</c:v>
                </c:pt>
                <c:pt idx="10">
                  <c:v>Společenská akce / klub</c:v>
                </c:pt>
                <c:pt idx="11">
                  <c:v>Stravovací</c:v>
                </c:pt>
                <c:pt idx="12">
                  <c:v>Zájmové aktivity</c:v>
                </c:pt>
                <c:pt idx="13">
                  <c:v>Církev</c:v>
                </c:pt>
                <c:pt idx="14">
                  <c:v>Kancelář, úřad</c:v>
                </c:pt>
                <c:pt idx="15">
                  <c:v>Policie</c:v>
                </c:pt>
                <c:pt idx="16">
                  <c:v>Dětské domovy</c:v>
                </c:pt>
                <c:pt idx="17">
                  <c:v>Svatba / pohřeb</c:v>
                </c:pt>
                <c:pt idx="18">
                  <c:v>Dětský tábor</c:v>
                </c:pt>
                <c:pt idx="19">
                  <c:v>Divadlo</c:v>
                </c:pt>
                <c:pt idx="20">
                  <c:v>HZS</c:v>
                </c:pt>
                <c:pt idx="21">
                  <c:v>Rodinný výskyt</c:v>
                </c:pt>
                <c:pt idx="22">
                  <c:v>Školení</c:v>
                </c:pt>
                <c:pt idx="23">
                  <c:v>Věznice</c:v>
                </c:pt>
                <c:pt idx="24">
                  <c:v>Ostatní</c:v>
                </c:pt>
                <c:pt idx="25">
                  <c:v>Netýká se žádného zařízení</c:v>
                </c:pt>
              </c:strCache>
            </c:strRef>
          </c:cat>
          <c:val>
            <c:numRef>
              <c:f>List1!$B$2:$B$27</c:f>
              <c:numCache>
                <c:formatCode>General</c:formatCode>
                <c:ptCount val="26"/>
                <c:pt idx="0">
                  <c:v>1653</c:v>
                </c:pt>
                <c:pt idx="1">
                  <c:v>286</c:v>
                </c:pt>
                <c:pt idx="2">
                  <c:v>194</c:v>
                </c:pt>
                <c:pt idx="3">
                  <c:v>193</c:v>
                </c:pt>
                <c:pt idx="4">
                  <c:v>96</c:v>
                </c:pt>
                <c:pt idx="5">
                  <c:v>66</c:v>
                </c:pt>
                <c:pt idx="6">
                  <c:v>51</c:v>
                </c:pt>
                <c:pt idx="7">
                  <c:v>48</c:v>
                </c:pt>
                <c:pt idx="8">
                  <c:v>44</c:v>
                </c:pt>
                <c:pt idx="9">
                  <c:v>20</c:v>
                </c:pt>
                <c:pt idx="10">
                  <c:v>14</c:v>
                </c:pt>
                <c:pt idx="11">
                  <c:v>10</c:v>
                </c:pt>
                <c:pt idx="12">
                  <c:v>7</c:v>
                </c:pt>
                <c:pt idx="13">
                  <c:v>6</c:v>
                </c:pt>
                <c:pt idx="14">
                  <c:v>6</c:v>
                </c:pt>
                <c:pt idx="15">
                  <c:v>6</c:v>
                </c:pt>
                <c:pt idx="16">
                  <c:v>4</c:v>
                </c:pt>
                <c:pt idx="17">
                  <c:v>3</c:v>
                </c:pt>
                <c:pt idx="18">
                  <c:v>0</c:v>
                </c:pt>
                <c:pt idx="19">
                  <c:v>0</c:v>
                </c:pt>
                <c:pt idx="20">
                  <c:v>0</c:v>
                </c:pt>
                <c:pt idx="21">
                  <c:v>0</c:v>
                </c:pt>
                <c:pt idx="22">
                  <c:v>0</c:v>
                </c:pt>
                <c:pt idx="23">
                  <c:v>0</c:v>
                </c:pt>
                <c:pt idx="24">
                  <c:v>15</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105486733009034"/>
          <c:y val="6.7225186576531884E-2"/>
          <c:w val="0.5619672675423385"/>
          <c:h val="0.90548117588883581"/>
        </c:manualLayout>
      </c:layout>
      <c:barChart>
        <c:barDir val="bar"/>
        <c:grouping val="clustered"/>
        <c:varyColors val="0"/>
        <c:ser>
          <c:idx val="0"/>
          <c:order val="0"/>
          <c:tx>
            <c:strRef>
              <c:f>Sheet1!$B$1</c:f>
              <c:strCache>
                <c:ptCount val="1"/>
                <c:pt idx="0">
                  <c:v>davky/prac</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Ústecký kraj</c:v>
                </c:pt>
                <c:pt idx="2">
                  <c:v>Středočeský kraj</c:v>
                </c:pt>
                <c:pt idx="3">
                  <c:v>Pardubický kraj</c:v>
                </c:pt>
                <c:pt idx="4">
                  <c:v>Karlovarský kraj</c:v>
                </c:pt>
                <c:pt idx="5">
                  <c:v>Plzeňský kraj</c:v>
                </c:pt>
                <c:pt idx="6">
                  <c:v>Jihočeský kraj</c:v>
                </c:pt>
                <c:pt idx="7">
                  <c:v>Zlínský kraj</c:v>
                </c:pt>
                <c:pt idx="8">
                  <c:v>Královéhradecký kraj</c:v>
                </c:pt>
                <c:pt idx="9">
                  <c:v>Jihomoravský kraj</c:v>
                </c:pt>
                <c:pt idx="10">
                  <c:v>ČR</c:v>
                </c:pt>
                <c:pt idx="11">
                  <c:v>Liberecký kraj</c:v>
                </c:pt>
                <c:pt idx="12">
                  <c:v>Olomoucký kraj</c:v>
                </c:pt>
                <c:pt idx="13">
                  <c:v>Hlavní město Praha</c:v>
                </c:pt>
                <c:pt idx="14">
                  <c:v>Moravskoslezský kraj</c:v>
                </c:pt>
              </c:strCache>
            </c:strRef>
          </c:cat>
          <c:val>
            <c:numRef>
              <c:f>Sheet1!$B$2:$B$16</c:f>
              <c:numCache>
                <c:formatCode>General</c:formatCode>
                <c:ptCount val="15"/>
                <c:pt idx="0">
                  <c:v>131.559099</c:v>
                </c:pt>
                <c:pt idx="1">
                  <c:v>127.408843</c:v>
                </c:pt>
                <c:pt idx="2">
                  <c:v>121.167598</c:v>
                </c:pt>
                <c:pt idx="3">
                  <c:v>119.945392</c:v>
                </c:pt>
                <c:pt idx="4">
                  <c:v>109.776905</c:v>
                </c:pt>
                <c:pt idx="5">
                  <c:v>108.30209600000001</c:v>
                </c:pt>
                <c:pt idx="6">
                  <c:v>104.488162</c:v>
                </c:pt>
                <c:pt idx="7">
                  <c:v>102.384902</c:v>
                </c:pt>
                <c:pt idx="8">
                  <c:v>101.652451</c:v>
                </c:pt>
                <c:pt idx="9">
                  <c:v>98.791264900000002</c:v>
                </c:pt>
                <c:pt idx="10">
                  <c:v>94.519900399999997</c:v>
                </c:pt>
                <c:pt idx="11">
                  <c:v>78.015269599999996</c:v>
                </c:pt>
                <c:pt idx="12">
                  <c:v>74.062535699999998</c:v>
                </c:pt>
                <c:pt idx="13">
                  <c:v>71.220890400000002</c:v>
                </c:pt>
                <c:pt idx="14">
                  <c:v>57.441733900000003</c:v>
                </c:pt>
              </c:numCache>
            </c:numRef>
          </c:val>
          <c:extLst>
            <c:ext xmlns:c16="http://schemas.microsoft.com/office/drawing/2014/chart" uri="{C3380CC4-5D6E-409C-BE32-E72D297353CC}">
              <c16:uniqueId val="{00000000-036C-41DA-BEEA-F8B6F1D74600}"/>
            </c:ext>
          </c:extLst>
        </c:ser>
        <c:dLbls>
          <c:showLegendKey val="0"/>
          <c:showVal val="0"/>
          <c:showCatName val="0"/>
          <c:showSerName val="0"/>
          <c:showPercent val="0"/>
          <c:showBubbleSize val="0"/>
        </c:dLbls>
        <c:gapWidth val="50"/>
        <c:axId val="383764288"/>
        <c:axId val="50879584"/>
      </c:barChart>
      <c:catAx>
        <c:axId val="38376428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cs-CZ"/>
          </a:p>
        </c:txPr>
        <c:crossAx val="50879584"/>
        <c:crosses val="autoZero"/>
        <c:auto val="1"/>
        <c:lblAlgn val="ctr"/>
        <c:lblOffset val="100"/>
        <c:noMultiLvlLbl val="0"/>
      </c:catAx>
      <c:valAx>
        <c:axId val="50879584"/>
        <c:scaling>
          <c:orientation val="minMax"/>
        </c:scaling>
        <c:delete val="0"/>
        <c:axPos val="t"/>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383764288"/>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105486733009034"/>
          <c:y val="6.7225186576531884E-2"/>
          <c:w val="0.5619672675423385"/>
          <c:h val="0.90548117588883581"/>
        </c:manualLayout>
      </c:layout>
      <c:barChart>
        <c:barDir val="bar"/>
        <c:grouping val="clustered"/>
        <c:varyColors val="0"/>
        <c:ser>
          <c:idx val="0"/>
          <c:order val="0"/>
          <c:tx>
            <c:strRef>
              <c:f>Sheet1!$B$1</c:f>
              <c:strCache>
                <c:ptCount val="1"/>
                <c:pt idx="0">
                  <c:v>na 100 osob</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Středočeský kraj</c:v>
                </c:pt>
                <c:pt idx="2">
                  <c:v>Ústecký kraj</c:v>
                </c:pt>
                <c:pt idx="3">
                  <c:v>Karlovarský kraj</c:v>
                </c:pt>
                <c:pt idx="4">
                  <c:v>Pardubický kraj</c:v>
                </c:pt>
                <c:pt idx="5">
                  <c:v>Jihočeský kraj</c:v>
                </c:pt>
                <c:pt idx="6">
                  <c:v>Plzeňský kraj</c:v>
                </c:pt>
                <c:pt idx="7">
                  <c:v>Královéhradecký kraj</c:v>
                </c:pt>
                <c:pt idx="8">
                  <c:v>Zlínský kraj</c:v>
                </c:pt>
                <c:pt idx="9">
                  <c:v>Jihomoravský kraj</c:v>
                </c:pt>
                <c:pt idx="10">
                  <c:v>ČR</c:v>
                </c:pt>
                <c:pt idx="11">
                  <c:v>Liberecký kraj</c:v>
                </c:pt>
                <c:pt idx="12">
                  <c:v>Olomoucký kraj</c:v>
                </c:pt>
                <c:pt idx="13">
                  <c:v>Hlavní město Praha</c:v>
                </c:pt>
                <c:pt idx="14">
                  <c:v>Moravskoslezský kraj</c:v>
                </c:pt>
              </c:strCache>
            </c:strRef>
          </c:cat>
          <c:val>
            <c:numRef>
              <c:f>Sheet1!$B$2:$B$16</c:f>
              <c:numCache>
                <c:formatCode>General</c:formatCode>
                <c:ptCount val="15"/>
                <c:pt idx="0">
                  <c:v>76.647820600000003</c:v>
                </c:pt>
                <c:pt idx="1">
                  <c:v>70.119669900000005</c:v>
                </c:pt>
                <c:pt idx="2">
                  <c:v>69.034672099999995</c:v>
                </c:pt>
                <c:pt idx="3">
                  <c:v>67.140739800000006</c:v>
                </c:pt>
                <c:pt idx="4">
                  <c:v>66.716437299999996</c:v>
                </c:pt>
                <c:pt idx="5">
                  <c:v>57.9112589</c:v>
                </c:pt>
                <c:pt idx="6">
                  <c:v>57.653104200000001</c:v>
                </c:pt>
                <c:pt idx="7">
                  <c:v>57.438130399999999</c:v>
                </c:pt>
                <c:pt idx="8">
                  <c:v>54.947052900000003</c:v>
                </c:pt>
                <c:pt idx="9">
                  <c:v>51.7218035</c:v>
                </c:pt>
                <c:pt idx="10">
                  <c:v>51.4653256</c:v>
                </c:pt>
                <c:pt idx="11">
                  <c:v>42.5627432</c:v>
                </c:pt>
                <c:pt idx="12">
                  <c:v>38.499724100000002</c:v>
                </c:pt>
                <c:pt idx="13">
                  <c:v>31.9640597</c:v>
                </c:pt>
                <c:pt idx="14">
                  <c:v>30.991993900000001</c:v>
                </c:pt>
              </c:numCache>
            </c:numRef>
          </c:val>
          <c:extLst>
            <c:ext xmlns:c16="http://schemas.microsoft.com/office/drawing/2014/chart" uri="{C3380CC4-5D6E-409C-BE32-E72D297353CC}">
              <c16:uniqueId val="{00000000-036C-41DA-BEEA-F8B6F1D74600}"/>
            </c:ext>
          </c:extLst>
        </c:ser>
        <c:dLbls>
          <c:showLegendKey val="0"/>
          <c:showVal val="0"/>
          <c:showCatName val="0"/>
          <c:showSerName val="0"/>
          <c:showPercent val="0"/>
          <c:showBubbleSize val="0"/>
        </c:dLbls>
        <c:gapWidth val="50"/>
        <c:axId val="383764288"/>
        <c:axId val="50879584"/>
      </c:barChart>
      <c:catAx>
        <c:axId val="38376428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cs-CZ"/>
          </a:p>
        </c:txPr>
        <c:crossAx val="50879584"/>
        <c:crosses val="autoZero"/>
        <c:auto val="1"/>
        <c:lblAlgn val="ctr"/>
        <c:lblOffset val="100"/>
        <c:noMultiLvlLbl val="0"/>
      </c:catAx>
      <c:valAx>
        <c:axId val="50879584"/>
        <c:scaling>
          <c:orientation val="minMax"/>
        </c:scaling>
        <c:delete val="0"/>
        <c:axPos val="t"/>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383764288"/>
        <c:crosses val="autoZero"/>
        <c:crossBetween val="between"/>
        <c:majorUnit val="2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5554</c:v>
                </c:pt>
                <c:pt idx="10">
                  <c:v>6.089969</c:v>
                </c:pt>
                <c:pt idx="11">
                  <c:v>4.8844260000000004</c:v>
                </c:pt>
                <c:pt idx="12">
                  <c:v>4.2788250000000003</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073</c:v>
                </c:pt>
                <c:pt idx="24">
                  <c:v>12.49123</c:v>
                </c:pt>
                <c:pt idx="25">
                  <c:v>14.29105</c:v>
                </c:pt>
                <c:pt idx="26">
                  <c:v>12.72894</c:v>
                </c:pt>
                <c:pt idx="27">
                  <c:v>8.9481789999999997</c:v>
                </c:pt>
                <c:pt idx="28">
                  <c:v>6.876684</c:v>
                </c:pt>
                <c:pt idx="29">
                  <c:v>4.731611</c:v>
                </c:pt>
                <c:pt idx="30">
                  <c:v>3.2204389999999998</c:v>
                </c:pt>
                <c:pt idx="31">
                  <c:v>2.711055</c:v>
                </c:pt>
                <c:pt idx="32">
                  <c:v>1.845102</c:v>
                </c:pt>
                <c:pt idx="33">
                  <c:v>1.573431</c:v>
                </c:pt>
                <c:pt idx="34">
                  <c:v>1.131964</c:v>
                </c:pt>
                <c:pt idx="35">
                  <c:v>0.79803500000000005</c:v>
                </c:pt>
                <c:pt idx="36">
                  <c:v>0.59428099999999995</c:v>
                </c:pt>
                <c:pt idx="37">
                  <c:v>0.39618799999999998</c:v>
                </c:pt>
                <c:pt idx="38">
                  <c:v>0.32261000000000001</c:v>
                </c:pt>
                <c:pt idx="39">
                  <c:v>0.113196</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Ústecký kraj</c:v>
                </c:pt>
              </c:strCache>
            </c:strRef>
          </c:tx>
          <c:spPr>
            <a:ln w="28575" cap="rnd">
              <a:solidFill>
                <a:schemeClr val="accent2"/>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3:$AO$3</c:f>
              <c:numCache>
                <c:formatCode>General</c:formatCode>
                <c:ptCount val="40"/>
                <c:pt idx="0">
                  <c:v>0.61387400000000003</c:v>
                </c:pt>
                <c:pt idx="1">
                  <c:v>1.6881520000000001</c:v>
                </c:pt>
                <c:pt idx="2">
                  <c:v>6.9060769999999998</c:v>
                </c:pt>
                <c:pt idx="3">
                  <c:v>4.527317</c:v>
                </c:pt>
                <c:pt idx="4">
                  <c:v>4.9877229999999999</c:v>
                </c:pt>
                <c:pt idx="5">
                  <c:v>10.66605</c:v>
                </c:pt>
                <c:pt idx="6">
                  <c:v>17.188459999999999</c:v>
                </c:pt>
                <c:pt idx="7">
                  <c:v>25.936160000000001</c:v>
                </c:pt>
                <c:pt idx="8">
                  <c:v>24.478210000000001</c:v>
                </c:pt>
                <c:pt idx="9">
                  <c:v>13.27502</c:v>
                </c:pt>
                <c:pt idx="10">
                  <c:v>7.673419</c:v>
                </c:pt>
                <c:pt idx="11">
                  <c:v>5.4481279999999996</c:v>
                </c:pt>
                <c:pt idx="12">
                  <c:v>3.9901779999999998</c:v>
                </c:pt>
                <c:pt idx="13">
                  <c:v>6.1387349999999996</c:v>
                </c:pt>
                <c:pt idx="14">
                  <c:v>10.89626</c:v>
                </c:pt>
                <c:pt idx="15">
                  <c:v>12.89134</c:v>
                </c:pt>
                <c:pt idx="16">
                  <c:v>10.51258</c:v>
                </c:pt>
                <c:pt idx="17">
                  <c:v>14.579499999999999</c:v>
                </c:pt>
                <c:pt idx="18">
                  <c:v>13.88889</c:v>
                </c:pt>
                <c:pt idx="19">
                  <c:v>7.673419</c:v>
                </c:pt>
                <c:pt idx="20">
                  <c:v>8.2105589999999999</c:v>
                </c:pt>
                <c:pt idx="21">
                  <c:v>8.1338240000000006</c:v>
                </c:pt>
                <c:pt idx="22">
                  <c:v>9.7452419999999993</c:v>
                </c:pt>
                <c:pt idx="23">
                  <c:v>10.43585</c:v>
                </c:pt>
                <c:pt idx="24">
                  <c:v>14.886430000000001</c:v>
                </c:pt>
                <c:pt idx="25">
                  <c:v>17.034990000000001</c:v>
                </c:pt>
                <c:pt idx="26">
                  <c:v>16.26765</c:v>
                </c:pt>
                <c:pt idx="27">
                  <c:v>13.42848</c:v>
                </c:pt>
                <c:pt idx="28">
                  <c:v>8.9779009999999992</c:v>
                </c:pt>
                <c:pt idx="29">
                  <c:v>6.368938</c:v>
                </c:pt>
                <c:pt idx="30">
                  <c:v>4.7575200000000004</c:v>
                </c:pt>
                <c:pt idx="31">
                  <c:v>3.0693679999999999</c:v>
                </c:pt>
                <c:pt idx="32">
                  <c:v>3.6832410000000002</c:v>
                </c:pt>
                <c:pt idx="33">
                  <c:v>2.8391649999999999</c:v>
                </c:pt>
                <c:pt idx="34">
                  <c:v>1.4579500000000001</c:v>
                </c:pt>
                <c:pt idx="35">
                  <c:v>1.3812150000000001</c:v>
                </c:pt>
                <c:pt idx="36">
                  <c:v>0.61387400000000003</c:v>
                </c:pt>
                <c:pt idx="37">
                  <c:v>7.6733999999999997E-2</c:v>
                </c:pt>
                <c:pt idx="38">
                  <c:v>0.53713900000000003</c:v>
                </c:pt>
                <c:pt idx="39">
                  <c:v>7.6733999999999997E-2</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Liberecký kraj</c:v>
                </c:pt>
              </c:strCache>
            </c:strRef>
          </c:tx>
          <c:spPr>
            <a:ln w="28575" cap="rnd">
              <a:solidFill>
                <a:schemeClr val="accent3"/>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4:$AO$4</c:f>
              <c:numCache>
                <c:formatCode>General</c:formatCode>
                <c:ptCount val="40"/>
                <c:pt idx="0">
                  <c:v>0.41220099999999998</c:v>
                </c:pt>
                <c:pt idx="1">
                  <c:v>2.335807</c:v>
                </c:pt>
                <c:pt idx="2">
                  <c:v>4.5342130000000003</c:v>
                </c:pt>
                <c:pt idx="3">
                  <c:v>5.3586150000000004</c:v>
                </c:pt>
                <c:pt idx="4">
                  <c:v>6.045617</c:v>
                </c:pt>
                <c:pt idx="5">
                  <c:v>12.36603</c:v>
                </c:pt>
                <c:pt idx="6">
                  <c:v>16.625450000000001</c:v>
                </c:pt>
                <c:pt idx="7">
                  <c:v>22.80846</c:v>
                </c:pt>
                <c:pt idx="8">
                  <c:v>18.274249999999999</c:v>
                </c:pt>
                <c:pt idx="9">
                  <c:v>13.87744</c:v>
                </c:pt>
                <c:pt idx="10">
                  <c:v>7.1448200000000002</c:v>
                </c:pt>
                <c:pt idx="11">
                  <c:v>7.1448200000000002</c:v>
                </c:pt>
                <c:pt idx="12">
                  <c:v>3.5724100000000001</c:v>
                </c:pt>
                <c:pt idx="13">
                  <c:v>5.9082169999999996</c:v>
                </c:pt>
                <c:pt idx="14">
                  <c:v>10.167630000000001</c:v>
                </c:pt>
                <c:pt idx="15">
                  <c:v>12.36603</c:v>
                </c:pt>
                <c:pt idx="16">
                  <c:v>7.9692220000000002</c:v>
                </c:pt>
                <c:pt idx="17">
                  <c:v>10.30503</c:v>
                </c:pt>
                <c:pt idx="18">
                  <c:v>14.152240000000001</c:v>
                </c:pt>
                <c:pt idx="19">
                  <c:v>13.602639999999999</c:v>
                </c:pt>
                <c:pt idx="20">
                  <c:v>12.77824</c:v>
                </c:pt>
                <c:pt idx="21">
                  <c:v>10.579829999999999</c:v>
                </c:pt>
                <c:pt idx="22">
                  <c:v>9.2058260000000001</c:v>
                </c:pt>
                <c:pt idx="23">
                  <c:v>10.44243</c:v>
                </c:pt>
                <c:pt idx="24">
                  <c:v>15.663639999999999</c:v>
                </c:pt>
                <c:pt idx="25">
                  <c:v>18.96125</c:v>
                </c:pt>
                <c:pt idx="26">
                  <c:v>16.488050000000001</c:v>
                </c:pt>
                <c:pt idx="27">
                  <c:v>12.503439999999999</c:v>
                </c:pt>
                <c:pt idx="28">
                  <c:v>8.5188240000000004</c:v>
                </c:pt>
                <c:pt idx="29">
                  <c:v>5.2212149999999999</c:v>
                </c:pt>
                <c:pt idx="30">
                  <c:v>4.3968119999999997</c:v>
                </c:pt>
                <c:pt idx="31">
                  <c:v>1.923605</c:v>
                </c:pt>
                <c:pt idx="32">
                  <c:v>1.374004</c:v>
                </c:pt>
                <c:pt idx="33">
                  <c:v>1.0992029999999999</c:v>
                </c:pt>
                <c:pt idx="34">
                  <c:v>1.6488050000000001</c:v>
                </c:pt>
                <c:pt idx="35">
                  <c:v>0.687002</c:v>
                </c:pt>
                <c:pt idx="36">
                  <c:v>0.687002</c:v>
                </c:pt>
                <c:pt idx="37">
                  <c:v>0.27480100000000002</c:v>
                </c:pt>
                <c:pt idx="38">
                  <c:v>1.374004</c:v>
                </c:pt>
                <c:pt idx="39">
                  <c:v>0.41220099999999998</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Královéhradecký kraj</c:v>
                </c:pt>
              </c:strCache>
            </c:strRef>
          </c:tx>
          <c:spPr>
            <a:ln w="28575" cap="rnd">
              <a:solidFill>
                <a:schemeClr val="accent4"/>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5:$AO$5</c:f>
              <c:numCache>
                <c:formatCode>General</c:formatCode>
                <c:ptCount val="40"/>
                <c:pt idx="0">
                  <c:v>0.213972</c:v>
                </c:pt>
                <c:pt idx="1">
                  <c:v>2.0327380000000002</c:v>
                </c:pt>
                <c:pt idx="2">
                  <c:v>3.9584890000000001</c:v>
                </c:pt>
                <c:pt idx="3">
                  <c:v>4.3864340000000004</c:v>
                </c:pt>
                <c:pt idx="4">
                  <c:v>4.1724620000000003</c:v>
                </c:pt>
                <c:pt idx="5">
                  <c:v>9.5217720000000003</c:v>
                </c:pt>
                <c:pt idx="6">
                  <c:v>17.224779999999999</c:v>
                </c:pt>
                <c:pt idx="7">
                  <c:v>20.006419999999999</c:v>
                </c:pt>
                <c:pt idx="8">
                  <c:v>14.871079999999999</c:v>
                </c:pt>
                <c:pt idx="9">
                  <c:v>11.340540000000001</c:v>
                </c:pt>
                <c:pt idx="10">
                  <c:v>4.7073929999999997</c:v>
                </c:pt>
                <c:pt idx="11">
                  <c:v>3.1025999999999998</c:v>
                </c:pt>
                <c:pt idx="12">
                  <c:v>4.9213649999999998</c:v>
                </c:pt>
                <c:pt idx="13">
                  <c:v>6.3121859999999996</c:v>
                </c:pt>
                <c:pt idx="14">
                  <c:v>11.019579999999999</c:v>
                </c:pt>
                <c:pt idx="15">
                  <c:v>11.87547</c:v>
                </c:pt>
                <c:pt idx="16">
                  <c:v>8.9868410000000001</c:v>
                </c:pt>
                <c:pt idx="17">
                  <c:v>11.447520000000001</c:v>
                </c:pt>
                <c:pt idx="18">
                  <c:v>15.940939999999999</c:v>
                </c:pt>
                <c:pt idx="19">
                  <c:v>14.871079999999999</c:v>
                </c:pt>
                <c:pt idx="20">
                  <c:v>18.080670000000001</c:v>
                </c:pt>
                <c:pt idx="21">
                  <c:v>16.261900000000001</c:v>
                </c:pt>
                <c:pt idx="22">
                  <c:v>16.47587</c:v>
                </c:pt>
                <c:pt idx="23">
                  <c:v>18.187650000000001</c:v>
                </c:pt>
                <c:pt idx="24">
                  <c:v>18.294640000000001</c:v>
                </c:pt>
                <c:pt idx="25">
                  <c:v>17.545739999999999</c:v>
                </c:pt>
                <c:pt idx="26">
                  <c:v>11.98245</c:v>
                </c:pt>
                <c:pt idx="27">
                  <c:v>8.5588960000000007</c:v>
                </c:pt>
                <c:pt idx="28">
                  <c:v>6.2051999999999996</c:v>
                </c:pt>
                <c:pt idx="29">
                  <c:v>2.674655</c:v>
                </c:pt>
                <c:pt idx="30">
                  <c:v>1.7117789999999999</c:v>
                </c:pt>
                <c:pt idx="31">
                  <c:v>1.6047929999999999</c:v>
                </c:pt>
                <c:pt idx="32">
                  <c:v>0.42794500000000002</c:v>
                </c:pt>
                <c:pt idx="33">
                  <c:v>0.74890299999999999</c:v>
                </c:pt>
                <c:pt idx="34">
                  <c:v>0.213972</c:v>
                </c:pt>
                <c:pt idx="35">
                  <c:v>0.106986</c:v>
                </c:pt>
                <c:pt idx="36">
                  <c:v>0.106986</c:v>
                </c:pt>
                <c:pt idx="37">
                  <c:v>0.213972</c:v>
                </c:pt>
                <c:pt idx="38">
                  <c:v>0</c:v>
                </c:pt>
                <c:pt idx="39">
                  <c:v>0</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Karlovarský kraj</c:v>
                </c:pt>
              </c:strCache>
            </c:strRef>
          </c:tx>
          <c:spPr>
            <a:ln w="28575" cap="rnd">
              <a:solidFill>
                <a:schemeClr val="accent5"/>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6:$AO$6</c:f>
              <c:numCache>
                <c:formatCode>General</c:formatCode>
                <c:ptCount val="40"/>
                <c:pt idx="0">
                  <c:v>1.1488970000000001</c:v>
                </c:pt>
                <c:pt idx="1">
                  <c:v>1.1488970000000001</c:v>
                </c:pt>
                <c:pt idx="2">
                  <c:v>9.4209560000000003</c:v>
                </c:pt>
                <c:pt idx="3">
                  <c:v>5.0551469999999998</c:v>
                </c:pt>
                <c:pt idx="4">
                  <c:v>4.1360289999999997</c:v>
                </c:pt>
                <c:pt idx="5">
                  <c:v>5.7444850000000001</c:v>
                </c:pt>
                <c:pt idx="6">
                  <c:v>16.08456</c:v>
                </c:pt>
                <c:pt idx="7">
                  <c:v>18.382349999999999</c:v>
                </c:pt>
                <c:pt idx="8">
                  <c:v>14.476100000000001</c:v>
                </c:pt>
                <c:pt idx="9">
                  <c:v>10.569850000000001</c:v>
                </c:pt>
                <c:pt idx="10">
                  <c:v>4.8253680000000001</c:v>
                </c:pt>
                <c:pt idx="11">
                  <c:v>3.6764709999999998</c:v>
                </c:pt>
                <c:pt idx="12">
                  <c:v>3.2169120000000002</c:v>
                </c:pt>
                <c:pt idx="13">
                  <c:v>5.2849259999999996</c:v>
                </c:pt>
                <c:pt idx="14">
                  <c:v>3.6764709999999998</c:v>
                </c:pt>
                <c:pt idx="15">
                  <c:v>8.0422790000000006</c:v>
                </c:pt>
                <c:pt idx="16">
                  <c:v>4.8253680000000001</c:v>
                </c:pt>
                <c:pt idx="17">
                  <c:v>11.48897</c:v>
                </c:pt>
                <c:pt idx="18">
                  <c:v>18.612130000000001</c:v>
                </c:pt>
                <c:pt idx="19">
                  <c:v>18.841909999999999</c:v>
                </c:pt>
                <c:pt idx="20">
                  <c:v>19.761030000000002</c:v>
                </c:pt>
                <c:pt idx="21">
                  <c:v>24.586400000000001</c:v>
                </c:pt>
                <c:pt idx="22">
                  <c:v>22.748159999999999</c:v>
                </c:pt>
                <c:pt idx="23">
                  <c:v>16.314340000000001</c:v>
                </c:pt>
                <c:pt idx="24">
                  <c:v>23.4375</c:v>
                </c:pt>
                <c:pt idx="25">
                  <c:v>21.139710000000001</c:v>
                </c:pt>
                <c:pt idx="26">
                  <c:v>9.4209560000000003</c:v>
                </c:pt>
                <c:pt idx="27">
                  <c:v>4.8253680000000001</c:v>
                </c:pt>
                <c:pt idx="28">
                  <c:v>3.4466909999999999</c:v>
                </c:pt>
                <c:pt idx="29">
                  <c:v>1.1488970000000001</c:v>
                </c:pt>
                <c:pt idx="30">
                  <c:v>1.1488970000000001</c:v>
                </c:pt>
                <c:pt idx="31">
                  <c:v>0.459559</c:v>
                </c:pt>
                <c:pt idx="32">
                  <c:v>0.91911799999999999</c:v>
                </c:pt>
                <c:pt idx="33">
                  <c:v>0.22977900000000001</c:v>
                </c:pt>
                <c:pt idx="34">
                  <c:v>0.22977900000000001</c:v>
                </c:pt>
                <c:pt idx="35">
                  <c:v>0.68933800000000001</c:v>
                </c:pt>
                <c:pt idx="36">
                  <c:v>0.22977900000000001</c:v>
                </c:pt>
                <c:pt idx="37">
                  <c:v>0.22977900000000001</c:v>
                </c:pt>
                <c:pt idx="38">
                  <c:v>0</c:v>
                </c:pt>
                <c:pt idx="39">
                  <c:v>0</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Pardubický kraj</c:v>
                </c:pt>
              </c:strCache>
            </c:strRef>
          </c:tx>
          <c:spPr>
            <a:ln w="28575" cap="rnd">
              <a:solidFill>
                <a:schemeClr val="accent6"/>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7:$AO$7</c:f>
              <c:numCache>
                <c:formatCode>General</c:formatCode>
                <c:ptCount val="40"/>
                <c:pt idx="0">
                  <c:v>0.68267199999999995</c:v>
                </c:pt>
                <c:pt idx="1">
                  <c:v>1.365343</c:v>
                </c:pt>
                <c:pt idx="2">
                  <c:v>1.9342360000000001</c:v>
                </c:pt>
                <c:pt idx="3">
                  <c:v>2.7306859999999999</c:v>
                </c:pt>
                <c:pt idx="4">
                  <c:v>3.6409150000000001</c:v>
                </c:pt>
                <c:pt idx="5">
                  <c:v>8.0782799999999995</c:v>
                </c:pt>
                <c:pt idx="6">
                  <c:v>11.83297</c:v>
                </c:pt>
                <c:pt idx="7">
                  <c:v>19.911249999999999</c:v>
                </c:pt>
                <c:pt idx="8">
                  <c:v>20.480149999999998</c:v>
                </c:pt>
                <c:pt idx="9">
                  <c:v>10.922739999999999</c:v>
                </c:pt>
                <c:pt idx="10">
                  <c:v>6.3716010000000001</c:v>
                </c:pt>
                <c:pt idx="11">
                  <c:v>5.6889289999999999</c:v>
                </c:pt>
                <c:pt idx="12">
                  <c:v>5.575151</c:v>
                </c:pt>
                <c:pt idx="13">
                  <c:v>6.3716010000000001</c:v>
                </c:pt>
                <c:pt idx="14">
                  <c:v>13.42587</c:v>
                </c:pt>
                <c:pt idx="15">
                  <c:v>12.97076</c:v>
                </c:pt>
                <c:pt idx="16">
                  <c:v>10.126289999999999</c:v>
                </c:pt>
                <c:pt idx="17">
                  <c:v>19.00102</c:v>
                </c:pt>
                <c:pt idx="18">
                  <c:v>17.97702</c:v>
                </c:pt>
                <c:pt idx="19">
                  <c:v>13.994770000000001</c:v>
                </c:pt>
                <c:pt idx="20">
                  <c:v>8.3058370000000004</c:v>
                </c:pt>
                <c:pt idx="21">
                  <c:v>9.8987370000000006</c:v>
                </c:pt>
                <c:pt idx="22">
                  <c:v>10.35385</c:v>
                </c:pt>
                <c:pt idx="23">
                  <c:v>10.58141</c:v>
                </c:pt>
                <c:pt idx="24">
                  <c:v>15.929</c:v>
                </c:pt>
                <c:pt idx="25">
                  <c:v>14.90499</c:v>
                </c:pt>
                <c:pt idx="26">
                  <c:v>14.3361</c:v>
                </c:pt>
                <c:pt idx="27">
                  <c:v>9.7849579999999996</c:v>
                </c:pt>
                <c:pt idx="28">
                  <c:v>10.126289999999999</c:v>
                </c:pt>
                <c:pt idx="29">
                  <c:v>5.9164870000000001</c:v>
                </c:pt>
                <c:pt idx="30">
                  <c:v>3.4133580000000001</c:v>
                </c:pt>
                <c:pt idx="31">
                  <c:v>3.1858</c:v>
                </c:pt>
                <c:pt idx="32">
                  <c:v>1.820457</c:v>
                </c:pt>
                <c:pt idx="33">
                  <c:v>2.1617929999999999</c:v>
                </c:pt>
                <c:pt idx="34">
                  <c:v>1.479122</c:v>
                </c:pt>
                <c:pt idx="35">
                  <c:v>0.68267199999999995</c:v>
                </c:pt>
                <c:pt idx="36">
                  <c:v>0.34133599999999997</c:v>
                </c:pt>
                <c:pt idx="37">
                  <c:v>0.22755700000000001</c:v>
                </c:pt>
                <c:pt idx="38">
                  <c:v>0</c:v>
                </c:pt>
                <c:pt idx="39">
                  <c:v>0</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5554</c:v>
                </c:pt>
                <c:pt idx="10">
                  <c:v>6.089969</c:v>
                </c:pt>
                <c:pt idx="11">
                  <c:v>4.8844260000000004</c:v>
                </c:pt>
                <c:pt idx="12">
                  <c:v>4.2788250000000003</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073</c:v>
                </c:pt>
                <c:pt idx="24">
                  <c:v>12.49123</c:v>
                </c:pt>
                <c:pt idx="25">
                  <c:v>14.29105</c:v>
                </c:pt>
                <c:pt idx="26">
                  <c:v>12.72894</c:v>
                </c:pt>
                <c:pt idx="27">
                  <c:v>8.9481789999999997</c:v>
                </c:pt>
                <c:pt idx="28">
                  <c:v>6.876684</c:v>
                </c:pt>
                <c:pt idx="29">
                  <c:v>4.731611</c:v>
                </c:pt>
                <c:pt idx="30">
                  <c:v>3.2204389999999998</c:v>
                </c:pt>
                <c:pt idx="31">
                  <c:v>2.711055</c:v>
                </c:pt>
                <c:pt idx="32">
                  <c:v>1.845102</c:v>
                </c:pt>
                <c:pt idx="33">
                  <c:v>1.573431</c:v>
                </c:pt>
                <c:pt idx="34">
                  <c:v>1.131964</c:v>
                </c:pt>
                <c:pt idx="35">
                  <c:v>0.79803500000000005</c:v>
                </c:pt>
                <c:pt idx="36">
                  <c:v>0.59428099999999995</c:v>
                </c:pt>
                <c:pt idx="37">
                  <c:v>0.39618799999999998</c:v>
                </c:pt>
                <c:pt idx="38">
                  <c:v>0.32261000000000001</c:v>
                </c:pt>
                <c:pt idx="39">
                  <c:v>0.113196</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Plzeňský kraj</c:v>
                </c:pt>
              </c:strCache>
            </c:strRef>
          </c:tx>
          <c:spPr>
            <a:ln w="28575" cap="rnd">
              <a:solidFill>
                <a:schemeClr val="accent2"/>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3:$AO$3</c:f>
              <c:numCache>
                <c:formatCode>General</c:formatCode>
                <c:ptCount val="40"/>
                <c:pt idx="0">
                  <c:v>0.32303199999999999</c:v>
                </c:pt>
                <c:pt idx="1">
                  <c:v>3.2303220000000001</c:v>
                </c:pt>
                <c:pt idx="2">
                  <c:v>2.9072900000000002</c:v>
                </c:pt>
                <c:pt idx="3">
                  <c:v>6.5683210000000001</c:v>
                </c:pt>
                <c:pt idx="4">
                  <c:v>5.2761930000000001</c:v>
                </c:pt>
                <c:pt idx="5">
                  <c:v>9.7986430000000002</c:v>
                </c:pt>
                <c:pt idx="6">
                  <c:v>19.812639999999998</c:v>
                </c:pt>
                <c:pt idx="7">
                  <c:v>22.935289999999998</c:v>
                </c:pt>
                <c:pt idx="8">
                  <c:v>14.85948</c:v>
                </c:pt>
                <c:pt idx="9">
                  <c:v>9.4756110000000007</c:v>
                </c:pt>
                <c:pt idx="10">
                  <c:v>4.0917409999999999</c:v>
                </c:pt>
                <c:pt idx="11">
                  <c:v>5.2761930000000001</c:v>
                </c:pt>
                <c:pt idx="12">
                  <c:v>5.2761930000000001</c:v>
                </c:pt>
                <c:pt idx="13">
                  <c:v>3.984064</c:v>
                </c:pt>
                <c:pt idx="14">
                  <c:v>6.2452889999999996</c:v>
                </c:pt>
                <c:pt idx="15">
                  <c:v>8.0758050000000008</c:v>
                </c:pt>
                <c:pt idx="16">
                  <c:v>9.6909659999999995</c:v>
                </c:pt>
                <c:pt idx="17">
                  <c:v>9.7986430000000002</c:v>
                </c:pt>
                <c:pt idx="18">
                  <c:v>12.70593</c:v>
                </c:pt>
                <c:pt idx="19">
                  <c:v>9.6909659999999995</c:v>
                </c:pt>
                <c:pt idx="20">
                  <c:v>7.322063</c:v>
                </c:pt>
                <c:pt idx="21">
                  <c:v>9.7986430000000002</c:v>
                </c:pt>
                <c:pt idx="22">
                  <c:v>13.13664</c:v>
                </c:pt>
                <c:pt idx="23">
                  <c:v>15.828580000000001</c:v>
                </c:pt>
                <c:pt idx="24">
                  <c:v>19.274249999999999</c:v>
                </c:pt>
                <c:pt idx="25">
                  <c:v>22.82761</c:v>
                </c:pt>
                <c:pt idx="26">
                  <c:v>18.0898</c:v>
                </c:pt>
                <c:pt idx="27">
                  <c:v>12.921290000000001</c:v>
                </c:pt>
                <c:pt idx="28">
                  <c:v>7.4297399999999998</c:v>
                </c:pt>
                <c:pt idx="29">
                  <c:v>4.4147730000000003</c:v>
                </c:pt>
                <c:pt idx="30">
                  <c:v>2.4765799999999998</c:v>
                </c:pt>
                <c:pt idx="31">
                  <c:v>1.7228380000000001</c:v>
                </c:pt>
                <c:pt idx="32">
                  <c:v>1.507484</c:v>
                </c:pt>
                <c:pt idx="33">
                  <c:v>0.53838699999999995</c:v>
                </c:pt>
                <c:pt idx="34">
                  <c:v>1.1844509999999999</c:v>
                </c:pt>
                <c:pt idx="35">
                  <c:v>0.53838699999999995</c:v>
                </c:pt>
                <c:pt idx="36">
                  <c:v>0.53838699999999995</c:v>
                </c:pt>
                <c:pt idx="37">
                  <c:v>0.53838699999999995</c:v>
                </c:pt>
                <c:pt idx="38">
                  <c:v>0.53838699999999995</c:v>
                </c:pt>
                <c:pt idx="39">
                  <c:v>0</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Středočeský kraj</c:v>
                </c:pt>
              </c:strCache>
            </c:strRef>
          </c:tx>
          <c:spPr>
            <a:ln w="28575" cap="rnd">
              <a:solidFill>
                <a:schemeClr val="accent3"/>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4:$AO$4</c:f>
              <c:numCache>
                <c:formatCode>General</c:formatCode>
                <c:ptCount val="40"/>
                <c:pt idx="0">
                  <c:v>0.80314099999999999</c:v>
                </c:pt>
                <c:pt idx="1">
                  <c:v>2.364805</c:v>
                </c:pt>
                <c:pt idx="2">
                  <c:v>4.3726580000000004</c:v>
                </c:pt>
                <c:pt idx="3">
                  <c:v>4.4618950000000002</c:v>
                </c:pt>
                <c:pt idx="4">
                  <c:v>6.4697480000000001</c:v>
                </c:pt>
                <c:pt idx="5">
                  <c:v>9.8161699999999996</c:v>
                </c:pt>
                <c:pt idx="6">
                  <c:v>16.553629999999998</c:v>
                </c:pt>
                <c:pt idx="7">
                  <c:v>18.784579999999998</c:v>
                </c:pt>
                <c:pt idx="8">
                  <c:v>16.152059999999999</c:v>
                </c:pt>
                <c:pt idx="9">
                  <c:v>10.57469</c:v>
                </c:pt>
                <c:pt idx="10">
                  <c:v>5.4435120000000001</c:v>
                </c:pt>
                <c:pt idx="11">
                  <c:v>4.1941819999999996</c:v>
                </c:pt>
                <c:pt idx="12">
                  <c:v>3.9264679999999998</c:v>
                </c:pt>
                <c:pt idx="13">
                  <c:v>6.1127969999999996</c:v>
                </c:pt>
                <c:pt idx="14">
                  <c:v>8.4776009999999999</c:v>
                </c:pt>
                <c:pt idx="15">
                  <c:v>9.9054079999999995</c:v>
                </c:pt>
                <c:pt idx="16">
                  <c:v>9.8607890000000005</c:v>
                </c:pt>
                <c:pt idx="17">
                  <c:v>15.259679999999999</c:v>
                </c:pt>
                <c:pt idx="18">
                  <c:v>14.054970000000001</c:v>
                </c:pt>
                <c:pt idx="19">
                  <c:v>9.5038370000000008</c:v>
                </c:pt>
                <c:pt idx="20">
                  <c:v>10.039260000000001</c:v>
                </c:pt>
                <c:pt idx="21">
                  <c:v>9.9054079999999995</c:v>
                </c:pt>
                <c:pt idx="22">
                  <c:v>11.51169</c:v>
                </c:pt>
                <c:pt idx="23">
                  <c:v>13.78726</c:v>
                </c:pt>
                <c:pt idx="24">
                  <c:v>16.59825</c:v>
                </c:pt>
                <c:pt idx="25">
                  <c:v>19.98929</c:v>
                </c:pt>
                <c:pt idx="26">
                  <c:v>16.776730000000001</c:v>
                </c:pt>
                <c:pt idx="27">
                  <c:v>12.09174</c:v>
                </c:pt>
                <c:pt idx="28">
                  <c:v>6.9605569999999997</c:v>
                </c:pt>
                <c:pt idx="29">
                  <c:v>4.9080849999999998</c:v>
                </c:pt>
                <c:pt idx="30">
                  <c:v>2.9894699999999998</c:v>
                </c:pt>
                <c:pt idx="31">
                  <c:v>2.2309480000000002</c:v>
                </c:pt>
                <c:pt idx="32">
                  <c:v>1.160093</c:v>
                </c:pt>
                <c:pt idx="33">
                  <c:v>0.71390299999999995</c:v>
                </c:pt>
                <c:pt idx="34">
                  <c:v>0.62466500000000003</c:v>
                </c:pt>
                <c:pt idx="35">
                  <c:v>0.49080800000000002</c:v>
                </c:pt>
                <c:pt idx="36">
                  <c:v>0.58004599999999995</c:v>
                </c:pt>
                <c:pt idx="37">
                  <c:v>0.35695199999999999</c:v>
                </c:pt>
                <c:pt idx="38">
                  <c:v>0.22309499999999999</c:v>
                </c:pt>
                <c:pt idx="39">
                  <c:v>4.4618999999999999E-2</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Zlínský kraj</c:v>
                </c:pt>
              </c:strCache>
            </c:strRef>
          </c:tx>
          <c:spPr>
            <a:ln w="28575" cap="rnd">
              <a:solidFill>
                <a:schemeClr val="accent4"/>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5:$AO$5</c:f>
              <c:numCache>
                <c:formatCode>General</c:formatCode>
                <c:ptCount val="40"/>
                <c:pt idx="0">
                  <c:v>0.62519499999999995</c:v>
                </c:pt>
                <c:pt idx="1">
                  <c:v>3.2301760000000002</c:v>
                </c:pt>
                <c:pt idx="2">
                  <c:v>4.0637699999999999</c:v>
                </c:pt>
                <c:pt idx="3">
                  <c:v>4.4805669999999997</c:v>
                </c:pt>
                <c:pt idx="4">
                  <c:v>9.1695320000000002</c:v>
                </c:pt>
                <c:pt idx="5">
                  <c:v>14.796290000000001</c:v>
                </c:pt>
                <c:pt idx="6">
                  <c:v>23.340630000000001</c:v>
                </c:pt>
                <c:pt idx="7">
                  <c:v>28.342189999999999</c:v>
                </c:pt>
                <c:pt idx="8">
                  <c:v>16.671880000000002</c:v>
                </c:pt>
                <c:pt idx="9">
                  <c:v>11.670310000000001</c:v>
                </c:pt>
                <c:pt idx="10">
                  <c:v>6.4603520000000003</c:v>
                </c:pt>
                <c:pt idx="11">
                  <c:v>6.6687510000000003</c:v>
                </c:pt>
                <c:pt idx="12">
                  <c:v>5.001563</c:v>
                </c:pt>
                <c:pt idx="13">
                  <c:v>6.1477550000000001</c:v>
                </c:pt>
                <c:pt idx="14">
                  <c:v>10.315720000000001</c:v>
                </c:pt>
                <c:pt idx="15">
                  <c:v>14.0669</c:v>
                </c:pt>
                <c:pt idx="16">
                  <c:v>13.754300000000001</c:v>
                </c:pt>
                <c:pt idx="17">
                  <c:v>15.31729</c:v>
                </c:pt>
                <c:pt idx="18">
                  <c:v>18.547460000000001</c:v>
                </c:pt>
                <c:pt idx="19">
                  <c:v>10.315720000000001</c:v>
                </c:pt>
                <c:pt idx="20">
                  <c:v>7.7107429999999999</c:v>
                </c:pt>
                <c:pt idx="21">
                  <c:v>7.0855480000000002</c:v>
                </c:pt>
                <c:pt idx="22">
                  <c:v>4.5847660000000001</c:v>
                </c:pt>
                <c:pt idx="23">
                  <c:v>5.1057620000000004</c:v>
                </c:pt>
                <c:pt idx="24">
                  <c:v>6.3561529999999999</c:v>
                </c:pt>
                <c:pt idx="25">
                  <c:v>7.9191409999999998</c:v>
                </c:pt>
                <c:pt idx="26">
                  <c:v>8.648536</c:v>
                </c:pt>
                <c:pt idx="27">
                  <c:v>5.7309580000000002</c:v>
                </c:pt>
                <c:pt idx="28">
                  <c:v>4.6889649999999996</c:v>
                </c:pt>
                <c:pt idx="29">
                  <c:v>5.3141610000000004</c:v>
                </c:pt>
                <c:pt idx="30">
                  <c:v>3.8553709999999999</c:v>
                </c:pt>
                <c:pt idx="31">
                  <c:v>4.6889649999999996</c:v>
                </c:pt>
                <c:pt idx="32">
                  <c:v>3.4385750000000002</c:v>
                </c:pt>
                <c:pt idx="33">
                  <c:v>3.3343750000000001</c:v>
                </c:pt>
                <c:pt idx="34">
                  <c:v>1.041992</c:v>
                </c:pt>
                <c:pt idx="35">
                  <c:v>1.1461920000000001</c:v>
                </c:pt>
                <c:pt idx="36">
                  <c:v>0.62519499999999995</c:v>
                </c:pt>
                <c:pt idx="37">
                  <c:v>0.93779299999999999</c:v>
                </c:pt>
                <c:pt idx="38">
                  <c:v>0.52099600000000001</c:v>
                </c:pt>
                <c:pt idx="39">
                  <c:v>0.104199</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Moravskoslezský kraj</c:v>
                </c:pt>
              </c:strCache>
            </c:strRef>
          </c:tx>
          <c:spPr>
            <a:ln w="28575" cap="rnd">
              <a:solidFill>
                <a:schemeClr val="accent5"/>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6:$AO$6</c:f>
              <c:numCache>
                <c:formatCode>General</c:formatCode>
                <c:ptCount val="40"/>
                <c:pt idx="0">
                  <c:v>0.207674</c:v>
                </c:pt>
                <c:pt idx="1">
                  <c:v>1.817143</c:v>
                </c:pt>
                <c:pt idx="2">
                  <c:v>3.0631849999999998</c:v>
                </c:pt>
                <c:pt idx="3">
                  <c:v>3.2189399999999999</c:v>
                </c:pt>
                <c:pt idx="4">
                  <c:v>4.1534709999999997</c:v>
                </c:pt>
                <c:pt idx="5">
                  <c:v>9.6049009999999999</c:v>
                </c:pt>
                <c:pt idx="6">
                  <c:v>15.41976</c:v>
                </c:pt>
                <c:pt idx="7">
                  <c:v>19.417480000000001</c:v>
                </c:pt>
                <c:pt idx="8">
                  <c:v>16.613880000000002</c:v>
                </c:pt>
                <c:pt idx="9">
                  <c:v>12.30466</c:v>
                </c:pt>
                <c:pt idx="10">
                  <c:v>6.9051450000000001</c:v>
                </c:pt>
                <c:pt idx="11">
                  <c:v>5.503349</c:v>
                </c:pt>
                <c:pt idx="12">
                  <c:v>4.2573080000000001</c:v>
                </c:pt>
                <c:pt idx="13">
                  <c:v>6.9570629999999998</c:v>
                </c:pt>
                <c:pt idx="14">
                  <c:v>11.78547</c:v>
                </c:pt>
                <c:pt idx="15">
                  <c:v>16.146619999999999</c:v>
                </c:pt>
                <c:pt idx="16">
                  <c:v>13.446859999999999</c:v>
                </c:pt>
                <c:pt idx="17">
                  <c:v>17.288820000000001</c:v>
                </c:pt>
                <c:pt idx="18">
                  <c:v>23.519030000000001</c:v>
                </c:pt>
                <c:pt idx="19">
                  <c:v>15.41976</c:v>
                </c:pt>
                <c:pt idx="20">
                  <c:v>9.2933909999999997</c:v>
                </c:pt>
                <c:pt idx="21">
                  <c:v>7.8396759999999999</c:v>
                </c:pt>
                <c:pt idx="22">
                  <c:v>6.5417160000000001</c:v>
                </c:pt>
                <c:pt idx="23">
                  <c:v>5.2956750000000001</c:v>
                </c:pt>
                <c:pt idx="24">
                  <c:v>7.5800840000000003</c:v>
                </c:pt>
                <c:pt idx="25">
                  <c:v>10.124079999999999</c:v>
                </c:pt>
                <c:pt idx="26">
                  <c:v>9.3972280000000001</c:v>
                </c:pt>
                <c:pt idx="27">
                  <c:v>6.3340430000000003</c:v>
                </c:pt>
                <c:pt idx="28">
                  <c:v>6.5936349999999999</c:v>
                </c:pt>
                <c:pt idx="29">
                  <c:v>5.0880020000000004</c:v>
                </c:pt>
                <c:pt idx="30">
                  <c:v>2.6478380000000001</c:v>
                </c:pt>
                <c:pt idx="31">
                  <c:v>3.011266</c:v>
                </c:pt>
                <c:pt idx="32">
                  <c:v>2.0248170000000001</c:v>
                </c:pt>
                <c:pt idx="33">
                  <c:v>1.9209799999999999</c:v>
                </c:pt>
                <c:pt idx="34">
                  <c:v>0.934531</c:v>
                </c:pt>
                <c:pt idx="35">
                  <c:v>0.934531</c:v>
                </c:pt>
                <c:pt idx="36">
                  <c:v>1.142204</c:v>
                </c:pt>
                <c:pt idx="37">
                  <c:v>0.51918399999999998</c:v>
                </c:pt>
                <c:pt idx="38">
                  <c:v>0.31151000000000001</c:v>
                </c:pt>
                <c:pt idx="39">
                  <c:v>0.207674</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Olomoucký kraj</c:v>
                </c:pt>
              </c:strCache>
            </c:strRef>
          </c:tx>
          <c:spPr>
            <a:ln w="28575" cap="rnd">
              <a:solidFill>
                <a:schemeClr val="accent6"/>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7:$AO$7</c:f>
              <c:numCache>
                <c:formatCode>General</c:formatCode>
                <c:ptCount val="40"/>
                <c:pt idx="0">
                  <c:v>9.3958E-2</c:v>
                </c:pt>
                <c:pt idx="1">
                  <c:v>1.127502</c:v>
                </c:pt>
                <c:pt idx="2">
                  <c:v>2.8187540000000002</c:v>
                </c:pt>
                <c:pt idx="3">
                  <c:v>6.2952180000000002</c:v>
                </c:pt>
                <c:pt idx="4">
                  <c:v>5.0737569999999996</c:v>
                </c:pt>
                <c:pt idx="5">
                  <c:v>12.026680000000001</c:v>
                </c:pt>
                <c:pt idx="6">
                  <c:v>17.00648</c:v>
                </c:pt>
                <c:pt idx="7">
                  <c:v>21.516490000000001</c:v>
                </c:pt>
                <c:pt idx="8">
                  <c:v>13.62398</c:v>
                </c:pt>
                <c:pt idx="9">
                  <c:v>13.62398</c:v>
                </c:pt>
                <c:pt idx="10">
                  <c:v>7.6106360000000004</c:v>
                </c:pt>
                <c:pt idx="11">
                  <c:v>6.0133419999999997</c:v>
                </c:pt>
                <c:pt idx="12">
                  <c:v>4.7918820000000002</c:v>
                </c:pt>
                <c:pt idx="13">
                  <c:v>7.5166779999999997</c:v>
                </c:pt>
                <c:pt idx="14">
                  <c:v>9.9595979999999997</c:v>
                </c:pt>
                <c:pt idx="15">
                  <c:v>12.590439999999999</c:v>
                </c:pt>
                <c:pt idx="16">
                  <c:v>7.7985530000000001</c:v>
                </c:pt>
                <c:pt idx="17">
                  <c:v>9.8656389999999998</c:v>
                </c:pt>
                <c:pt idx="18">
                  <c:v>14.84544</c:v>
                </c:pt>
                <c:pt idx="19">
                  <c:v>10.523350000000001</c:v>
                </c:pt>
                <c:pt idx="20">
                  <c:v>8.2683450000000001</c:v>
                </c:pt>
                <c:pt idx="21">
                  <c:v>9.9595979999999997</c:v>
                </c:pt>
                <c:pt idx="22">
                  <c:v>8.0804279999999995</c:v>
                </c:pt>
                <c:pt idx="23">
                  <c:v>6.5770929999999996</c:v>
                </c:pt>
                <c:pt idx="24">
                  <c:v>8.7381379999999993</c:v>
                </c:pt>
                <c:pt idx="25">
                  <c:v>11.556889999999999</c:v>
                </c:pt>
                <c:pt idx="26">
                  <c:v>16.16086</c:v>
                </c:pt>
                <c:pt idx="27">
                  <c:v>7.6106360000000004</c:v>
                </c:pt>
                <c:pt idx="28">
                  <c:v>8.362304</c:v>
                </c:pt>
                <c:pt idx="29">
                  <c:v>4.6979240000000004</c:v>
                </c:pt>
                <c:pt idx="30">
                  <c:v>2.9127130000000001</c:v>
                </c:pt>
                <c:pt idx="31">
                  <c:v>2.3489620000000002</c:v>
                </c:pt>
                <c:pt idx="32">
                  <c:v>3.2885460000000002</c:v>
                </c:pt>
                <c:pt idx="33">
                  <c:v>1.973128</c:v>
                </c:pt>
                <c:pt idx="34">
                  <c:v>1.4093770000000001</c:v>
                </c:pt>
                <c:pt idx="35">
                  <c:v>0.751668</c:v>
                </c:pt>
                <c:pt idx="36">
                  <c:v>0.46979199999999999</c:v>
                </c:pt>
                <c:pt idx="37">
                  <c:v>0.751668</c:v>
                </c:pt>
                <c:pt idx="38">
                  <c:v>0.563751</c:v>
                </c:pt>
                <c:pt idx="39">
                  <c:v>0.187917</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2:$AO$2</c:f>
              <c:numCache>
                <c:formatCode>General</c:formatCode>
                <c:ptCount val="40"/>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5554</c:v>
                </c:pt>
                <c:pt idx="10">
                  <c:v>6.089969</c:v>
                </c:pt>
                <c:pt idx="11">
                  <c:v>4.8844260000000004</c:v>
                </c:pt>
                <c:pt idx="12">
                  <c:v>4.2788250000000003</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073</c:v>
                </c:pt>
                <c:pt idx="24">
                  <c:v>12.49123</c:v>
                </c:pt>
                <c:pt idx="25">
                  <c:v>14.29105</c:v>
                </c:pt>
                <c:pt idx="26">
                  <c:v>12.72894</c:v>
                </c:pt>
                <c:pt idx="27">
                  <c:v>8.9481789999999997</c:v>
                </c:pt>
                <c:pt idx="28">
                  <c:v>6.876684</c:v>
                </c:pt>
                <c:pt idx="29">
                  <c:v>4.731611</c:v>
                </c:pt>
                <c:pt idx="30">
                  <c:v>3.2204389999999998</c:v>
                </c:pt>
                <c:pt idx="31">
                  <c:v>2.711055</c:v>
                </c:pt>
                <c:pt idx="32">
                  <c:v>1.845102</c:v>
                </c:pt>
                <c:pt idx="33">
                  <c:v>1.573431</c:v>
                </c:pt>
                <c:pt idx="34">
                  <c:v>1.131964</c:v>
                </c:pt>
                <c:pt idx="35">
                  <c:v>0.79803500000000005</c:v>
                </c:pt>
                <c:pt idx="36">
                  <c:v>0.59428099999999995</c:v>
                </c:pt>
                <c:pt idx="37">
                  <c:v>0.39618799999999998</c:v>
                </c:pt>
                <c:pt idx="38">
                  <c:v>0.32261000000000001</c:v>
                </c:pt>
                <c:pt idx="39">
                  <c:v>0.113196</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Jihočeský kraj</c:v>
                </c:pt>
              </c:strCache>
            </c:strRef>
          </c:tx>
          <c:spPr>
            <a:ln w="28575" cap="rnd">
              <a:solidFill>
                <a:schemeClr val="accent2"/>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3:$AO$3</c:f>
              <c:numCache>
                <c:formatCode>General</c:formatCode>
                <c:ptCount val="40"/>
                <c:pt idx="0">
                  <c:v>1.3863220000000001</c:v>
                </c:pt>
                <c:pt idx="1">
                  <c:v>1.4787429999999999</c:v>
                </c:pt>
                <c:pt idx="2">
                  <c:v>2.772643</c:v>
                </c:pt>
                <c:pt idx="3">
                  <c:v>3.7892790000000001</c:v>
                </c:pt>
                <c:pt idx="4">
                  <c:v>5.1756010000000003</c:v>
                </c:pt>
                <c:pt idx="5">
                  <c:v>12.66174</c:v>
                </c:pt>
                <c:pt idx="6">
                  <c:v>14.51017</c:v>
                </c:pt>
                <c:pt idx="7">
                  <c:v>22.088719999999999</c:v>
                </c:pt>
                <c:pt idx="8">
                  <c:v>21.16451</c:v>
                </c:pt>
                <c:pt idx="9">
                  <c:v>14.787430000000001</c:v>
                </c:pt>
                <c:pt idx="10">
                  <c:v>7.2088720000000004</c:v>
                </c:pt>
                <c:pt idx="11">
                  <c:v>5.0831790000000003</c:v>
                </c:pt>
                <c:pt idx="12">
                  <c:v>5.2680220000000002</c:v>
                </c:pt>
                <c:pt idx="13">
                  <c:v>4.528651</c:v>
                </c:pt>
                <c:pt idx="14">
                  <c:v>5.8225509999999998</c:v>
                </c:pt>
                <c:pt idx="15">
                  <c:v>7.763401</c:v>
                </c:pt>
                <c:pt idx="16">
                  <c:v>8.5027729999999995</c:v>
                </c:pt>
                <c:pt idx="17">
                  <c:v>10.443619999999999</c:v>
                </c:pt>
                <c:pt idx="18">
                  <c:v>14.14048</c:v>
                </c:pt>
                <c:pt idx="19">
                  <c:v>8.5951939999999993</c:v>
                </c:pt>
                <c:pt idx="20">
                  <c:v>7.4861370000000003</c:v>
                </c:pt>
                <c:pt idx="21">
                  <c:v>6.9316079999999998</c:v>
                </c:pt>
                <c:pt idx="22">
                  <c:v>8.3179300000000005</c:v>
                </c:pt>
                <c:pt idx="23">
                  <c:v>7.1164509999999996</c:v>
                </c:pt>
                <c:pt idx="24">
                  <c:v>8.6876160000000002</c:v>
                </c:pt>
                <c:pt idx="25">
                  <c:v>11.645099999999999</c:v>
                </c:pt>
                <c:pt idx="26">
                  <c:v>11.46026</c:v>
                </c:pt>
                <c:pt idx="27">
                  <c:v>8.7800370000000001</c:v>
                </c:pt>
                <c:pt idx="28">
                  <c:v>8.2255079999999996</c:v>
                </c:pt>
                <c:pt idx="29">
                  <c:v>5.8225509999999998</c:v>
                </c:pt>
                <c:pt idx="30">
                  <c:v>4.9907579999999996</c:v>
                </c:pt>
                <c:pt idx="31">
                  <c:v>3.6968580000000002</c:v>
                </c:pt>
                <c:pt idx="32">
                  <c:v>1.663586</c:v>
                </c:pt>
                <c:pt idx="33">
                  <c:v>2.4029569999999998</c:v>
                </c:pt>
                <c:pt idx="34">
                  <c:v>2.1256930000000001</c:v>
                </c:pt>
                <c:pt idx="35">
                  <c:v>1.2939000000000001</c:v>
                </c:pt>
                <c:pt idx="36">
                  <c:v>0.64695000000000003</c:v>
                </c:pt>
                <c:pt idx="37">
                  <c:v>0.36968600000000001</c:v>
                </c:pt>
                <c:pt idx="38">
                  <c:v>0.18484300000000001</c:v>
                </c:pt>
                <c:pt idx="39">
                  <c:v>9.2421000000000003E-2</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Kraj Vysočina</c:v>
                </c:pt>
              </c:strCache>
            </c:strRef>
          </c:tx>
          <c:spPr>
            <a:ln w="28575" cap="rnd">
              <a:solidFill>
                <a:schemeClr val="accent3"/>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4:$AO$4</c:f>
              <c:numCache>
                <c:formatCode>General</c:formatCode>
                <c:ptCount val="40"/>
                <c:pt idx="0">
                  <c:v>0.231992</c:v>
                </c:pt>
                <c:pt idx="1">
                  <c:v>1.623942</c:v>
                </c:pt>
                <c:pt idx="2">
                  <c:v>4.8718250000000003</c:v>
                </c:pt>
                <c:pt idx="3">
                  <c:v>6.0317829999999999</c:v>
                </c:pt>
                <c:pt idx="4">
                  <c:v>4.9878200000000001</c:v>
                </c:pt>
                <c:pt idx="5">
                  <c:v>9.0476740000000007</c:v>
                </c:pt>
                <c:pt idx="6">
                  <c:v>13.223520000000001</c:v>
                </c:pt>
                <c:pt idx="7">
                  <c:v>16.239419999999999</c:v>
                </c:pt>
                <c:pt idx="8">
                  <c:v>15.079459999999999</c:v>
                </c:pt>
                <c:pt idx="9">
                  <c:v>18.21134</c:v>
                </c:pt>
                <c:pt idx="10">
                  <c:v>12.06357</c:v>
                </c:pt>
                <c:pt idx="11">
                  <c:v>7.5397290000000003</c:v>
                </c:pt>
                <c:pt idx="12">
                  <c:v>8.1197079999999993</c:v>
                </c:pt>
                <c:pt idx="13">
                  <c:v>5.4518040000000001</c:v>
                </c:pt>
                <c:pt idx="14">
                  <c:v>6.2637749999999999</c:v>
                </c:pt>
                <c:pt idx="15">
                  <c:v>8.2357040000000001</c:v>
                </c:pt>
                <c:pt idx="16">
                  <c:v>11.715579999999999</c:v>
                </c:pt>
                <c:pt idx="17">
                  <c:v>9.8596450000000004</c:v>
                </c:pt>
                <c:pt idx="18">
                  <c:v>15.311450000000001</c:v>
                </c:pt>
                <c:pt idx="19">
                  <c:v>9.3956619999999997</c:v>
                </c:pt>
                <c:pt idx="20">
                  <c:v>6.0317829999999999</c:v>
                </c:pt>
                <c:pt idx="21">
                  <c:v>5.7997909999999999</c:v>
                </c:pt>
                <c:pt idx="22">
                  <c:v>4.5238370000000003</c:v>
                </c:pt>
                <c:pt idx="23">
                  <c:v>5.6837949999999999</c:v>
                </c:pt>
                <c:pt idx="24">
                  <c:v>7.7717200000000002</c:v>
                </c:pt>
                <c:pt idx="25">
                  <c:v>9.7436489999999996</c:v>
                </c:pt>
                <c:pt idx="26">
                  <c:v>9.9756409999999995</c:v>
                </c:pt>
                <c:pt idx="27">
                  <c:v>8.6996870000000008</c:v>
                </c:pt>
                <c:pt idx="28">
                  <c:v>7.6557240000000002</c:v>
                </c:pt>
                <c:pt idx="29">
                  <c:v>5.3358080000000001</c:v>
                </c:pt>
                <c:pt idx="30">
                  <c:v>4.1758499999999996</c:v>
                </c:pt>
                <c:pt idx="31">
                  <c:v>4.7558290000000003</c:v>
                </c:pt>
                <c:pt idx="32">
                  <c:v>1.507946</c:v>
                </c:pt>
                <c:pt idx="33">
                  <c:v>1.0439620000000001</c:v>
                </c:pt>
                <c:pt idx="34">
                  <c:v>1.275954</c:v>
                </c:pt>
                <c:pt idx="35">
                  <c:v>1.159958</c:v>
                </c:pt>
                <c:pt idx="36">
                  <c:v>0.34798699999999999</c:v>
                </c:pt>
                <c:pt idx="37">
                  <c:v>0.231992</c:v>
                </c:pt>
                <c:pt idx="38">
                  <c:v>0.231992</c:v>
                </c:pt>
                <c:pt idx="39">
                  <c:v>0.115996</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Jihomoravský kraj</c:v>
                </c:pt>
              </c:strCache>
            </c:strRef>
          </c:tx>
          <c:spPr>
            <a:ln w="28575" cap="rnd">
              <a:solidFill>
                <a:schemeClr val="accent4"/>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5:$AO$5</c:f>
              <c:numCache>
                <c:formatCode>General</c:formatCode>
                <c:ptCount val="40"/>
                <c:pt idx="0">
                  <c:v>1.243781</c:v>
                </c:pt>
                <c:pt idx="1">
                  <c:v>3.0576289999999999</c:v>
                </c:pt>
                <c:pt idx="2">
                  <c:v>3.7831670000000002</c:v>
                </c:pt>
                <c:pt idx="3">
                  <c:v>5.1824209999999997</c:v>
                </c:pt>
                <c:pt idx="4">
                  <c:v>4.1977609999999999</c:v>
                </c:pt>
                <c:pt idx="5">
                  <c:v>7.1517410000000003</c:v>
                </c:pt>
                <c:pt idx="6">
                  <c:v>10.31302</c:v>
                </c:pt>
                <c:pt idx="7">
                  <c:v>12.852399999999999</c:v>
                </c:pt>
                <c:pt idx="8">
                  <c:v>8.6546430000000001</c:v>
                </c:pt>
                <c:pt idx="9">
                  <c:v>8.1364009999999993</c:v>
                </c:pt>
                <c:pt idx="10">
                  <c:v>6.5816749999999997</c:v>
                </c:pt>
                <c:pt idx="11">
                  <c:v>5.0269490000000001</c:v>
                </c:pt>
                <c:pt idx="12">
                  <c:v>3.9904639999999998</c:v>
                </c:pt>
                <c:pt idx="13">
                  <c:v>5.4415420000000001</c:v>
                </c:pt>
                <c:pt idx="14">
                  <c:v>9.4320070000000005</c:v>
                </c:pt>
                <c:pt idx="15">
                  <c:v>11.81592</c:v>
                </c:pt>
                <c:pt idx="16">
                  <c:v>5.8043120000000004</c:v>
                </c:pt>
                <c:pt idx="17">
                  <c:v>7.1517410000000003</c:v>
                </c:pt>
                <c:pt idx="18">
                  <c:v>11.349500000000001</c:v>
                </c:pt>
                <c:pt idx="19">
                  <c:v>8.8101160000000007</c:v>
                </c:pt>
                <c:pt idx="20">
                  <c:v>7.2553900000000002</c:v>
                </c:pt>
                <c:pt idx="21">
                  <c:v>7.5145109999999997</c:v>
                </c:pt>
                <c:pt idx="22">
                  <c:v>7.4108619999999998</c:v>
                </c:pt>
                <c:pt idx="23">
                  <c:v>8.8619400000000006</c:v>
                </c:pt>
                <c:pt idx="24">
                  <c:v>9.22471</c:v>
                </c:pt>
                <c:pt idx="25">
                  <c:v>11.453150000000001</c:v>
                </c:pt>
                <c:pt idx="26">
                  <c:v>10.31302</c:v>
                </c:pt>
                <c:pt idx="27">
                  <c:v>7.2553900000000002</c:v>
                </c:pt>
                <c:pt idx="28">
                  <c:v>6.7371480000000004</c:v>
                </c:pt>
                <c:pt idx="29">
                  <c:v>4.4050580000000004</c:v>
                </c:pt>
                <c:pt idx="30">
                  <c:v>3.1612770000000001</c:v>
                </c:pt>
                <c:pt idx="31">
                  <c:v>2.4875620000000001</c:v>
                </c:pt>
                <c:pt idx="32">
                  <c:v>1.9174960000000001</c:v>
                </c:pt>
                <c:pt idx="33">
                  <c:v>2.0211440000000001</c:v>
                </c:pt>
                <c:pt idx="34">
                  <c:v>1.6065510000000001</c:v>
                </c:pt>
                <c:pt idx="35">
                  <c:v>1.1919569999999999</c:v>
                </c:pt>
                <c:pt idx="36">
                  <c:v>0.77736300000000003</c:v>
                </c:pt>
                <c:pt idx="37">
                  <c:v>0.57006599999999996</c:v>
                </c:pt>
                <c:pt idx="38">
                  <c:v>0.31094500000000003</c:v>
                </c:pt>
                <c:pt idx="39">
                  <c:v>0.25912099999999999</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Hlavní město Praha</c:v>
                </c:pt>
              </c:strCache>
            </c:strRef>
          </c:tx>
          <c:spPr>
            <a:ln w="28575" cap="rnd">
              <a:solidFill>
                <a:schemeClr val="accent5"/>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6:$AO$6</c:f>
              <c:numCache>
                <c:formatCode>General</c:formatCode>
                <c:ptCount val="40"/>
                <c:pt idx="0">
                  <c:v>1.9207479999999999</c:v>
                </c:pt>
                <c:pt idx="1">
                  <c:v>2.881122</c:v>
                </c:pt>
                <c:pt idx="2">
                  <c:v>4.5513380000000003</c:v>
                </c:pt>
                <c:pt idx="3">
                  <c:v>3.8414969999999999</c:v>
                </c:pt>
                <c:pt idx="4">
                  <c:v>5.6787340000000004</c:v>
                </c:pt>
                <c:pt idx="5">
                  <c:v>6.5555969999999997</c:v>
                </c:pt>
                <c:pt idx="6">
                  <c:v>8.7268779999999992</c:v>
                </c:pt>
                <c:pt idx="7">
                  <c:v>10.981669999999999</c:v>
                </c:pt>
                <c:pt idx="8">
                  <c:v>8.8103890000000007</c:v>
                </c:pt>
                <c:pt idx="9">
                  <c:v>4.3008059999999997</c:v>
                </c:pt>
                <c:pt idx="10">
                  <c:v>2.4218130000000002</c:v>
                </c:pt>
                <c:pt idx="11">
                  <c:v>2.1295250000000001</c:v>
                </c:pt>
                <c:pt idx="12">
                  <c:v>1.962504</c:v>
                </c:pt>
                <c:pt idx="13">
                  <c:v>3.2986759999999999</c:v>
                </c:pt>
                <c:pt idx="14">
                  <c:v>4.1755399999999998</c:v>
                </c:pt>
                <c:pt idx="15">
                  <c:v>6.7226189999999999</c:v>
                </c:pt>
                <c:pt idx="16">
                  <c:v>5.8875109999999999</c:v>
                </c:pt>
                <c:pt idx="17">
                  <c:v>6.0545330000000002</c:v>
                </c:pt>
                <c:pt idx="18">
                  <c:v>8.3510790000000004</c:v>
                </c:pt>
                <c:pt idx="19">
                  <c:v>6.5138420000000004</c:v>
                </c:pt>
                <c:pt idx="20">
                  <c:v>5.1776689999999999</c:v>
                </c:pt>
                <c:pt idx="21">
                  <c:v>6.2215540000000003</c:v>
                </c:pt>
                <c:pt idx="22">
                  <c:v>7.2236840000000004</c:v>
                </c:pt>
                <c:pt idx="23">
                  <c:v>9.3532089999999997</c:v>
                </c:pt>
                <c:pt idx="24">
                  <c:v>12.3596</c:v>
                </c:pt>
                <c:pt idx="25">
                  <c:v>12.23433</c:v>
                </c:pt>
                <c:pt idx="26">
                  <c:v>10.39709</c:v>
                </c:pt>
                <c:pt idx="27">
                  <c:v>7.0566620000000002</c:v>
                </c:pt>
                <c:pt idx="28">
                  <c:v>4.3008059999999997</c:v>
                </c:pt>
                <c:pt idx="29">
                  <c:v>3.7162299999999999</c:v>
                </c:pt>
                <c:pt idx="30">
                  <c:v>2.672345</c:v>
                </c:pt>
                <c:pt idx="31">
                  <c:v>2.380058</c:v>
                </c:pt>
                <c:pt idx="32">
                  <c:v>1.210907</c:v>
                </c:pt>
                <c:pt idx="33">
                  <c:v>0.87686299999999995</c:v>
                </c:pt>
                <c:pt idx="34">
                  <c:v>0.83510799999999996</c:v>
                </c:pt>
                <c:pt idx="35">
                  <c:v>0.33404299999999998</c:v>
                </c:pt>
                <c:pt idx="36">
                  <c:v>0.45930900000000002</c:v>
                </c:pt>
                <c:pt idx="37">
                  <c:v>0.20877699999999999</c:v>
                </c:pt>
                <c:pt idx="38">
                  <c:v>0.12526599999999999</c:v>
                </c:pt>
                <c:pt idx="39">
                  <c:v>4.1755E-2</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strCache>
            </c:strRef>
          </c:tx>
          <c:spPr>
            <a:ln w="28575" cap="rnd">
              <a:solidFill>
                <a:schemeClr val="accent6"/>
              </a:solidFill>
              <a:round/>
            </a:ln>
            <a:effectLst/>
          </c:spPr>
          <c:marker>
            <c:symbol val="none"/>
          </c:marker>
          <c:cat>
            <c:strRef>
              <c:f>List1!$B$1:$AO$1</c:f>
              <c:strCache>
                <c:ptCount val="40"/>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4.6.</c:v>
                </c:pt>
              </c:strCache>
            </c:strRef>
          </c:cat>
          <c:val>
            <c:numRef>
              <c:f>List1!$B$7:$AO$7</c:f>
              <c:numCache>
                <c:formatCode>General</c:formatCode>
                <c:ptCount val="40"/>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90720000851767E-2"/>
          <c:y val="3.5150569012591358E-2"/>
          <c:w val="0.80334957098880577"/>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AI$1</c:f>
              <c:strCache>
                <c:ptCount val="34"/>
                <c:pt idx="0">
                  <c:v>11.10 - 17.10</c:v>
                </c:pt>
                <c:pt idx="1">
                  <c:v>18.10 - 24.10</c:v>
                </c:pt>
                <c:pt idx="2">
                  <c:v>25.10 - 31.10</c:v>
                </c:pt>
                <c:pt idx="3">
                  <c:v>01.11 - 07.11</c:v>
                </c:pt>
                <c:pt idx="4">
                  <c:v>08.11 - 14.11</c:v>
                </c:pt>
                <c:pt idx="5">
                  <c:v>15.11 - 21.11</c:v>
                </c:pt>
                <c:pt idx="6">
                  <c:v>22.11 - 28.11</c:v>
                </c:pt>
                <c:pt idx="7">
                  <c:v>29.11 - 05.12</c:v>
                </c:pt>
                <c:pt idx="8">
                  <c:v>06.12 - 12.12</c:v>
                </c:pt>
                <c:pt idx="9">
                  <c:v>13.12 - 19.12</c:v>
                </c:pt>
                <c:pt idx="10">
                  <c:v>20.12 - 26.12</c:v>
                </c:pt>
                <c:pt idx="11">
                  <c:v>27.12 - 02.01</c:v>
                </c:pt>
                <c:pt idx="12">
                  <c:v>03.01 - 09.01</c:v>
                </c:pt>
                <c:pt idx="13">
                  <c:v>10.01 - 16.01</c:v>
                </c:pt>
                <c:pt idx="14">
                  <c:v>17.01 - 23.01</c:v>
                </c:pt>
                <c:pt idx="15">
                  <c:v>24.01 - 30.01</c:v>
                </c:pt>
                <c:pt idx="16">
                  <c:v>31.01 - 06.02</c:v>
                </c:pt>
                <c:pt idx="17">
                  <c:v>07.02 - 13.02</c:v>
                </c:pt>
                <c:pt idx="18">
                  <c:v>14.02 - 20.02</c:v>
                </c:pt>
                <c:pt idx="19">
                  <c:v>21.02 - 27.02</c:v>
                </c:pt>
                <c:pt idx="20">
                  <c:v>28.02 - 06.03</c:v>
                </c:pt>
                <c:pt idx="21">
                  <c:v>07.03 - 13.03</c:v>
                </c:pt>
                <c:pt idx="22">
                  <c:v>14.03 - 20.03</c:v>
                </c:pt>
                <c:pt idx="23">
                  <c:v>21.03 - 27.03</c:v>
                </c:pt>
                <c:pt idx="24">
                  <c:v>28.03 - 03.04</c:v>
                </c:pt>
                <c:pt idx="25">
                  <c:v>04.04 - 10.04</c:v>
                </c:pt>
                <c:pt idx="26">
                  <c:v>11.04 - 17.04</c:v>
                </c:pt>
                <c:pt idx="27">
                  <c:v>18.04 - 24.04</c:v>
                </c:pt>
                <c:pt idx="28">
                  <c:v>25.04 - 01.05</c:v>
                </c:pt>
                <c:pt idx="29">
                  <c:v>02.05 - 08.05</c:v>
                </c:pt>
                <c:pt idx="30">
                  <c:v>09.05 - 15.05</c:v>
                </c:pt>
                <c:pt idx="31">
                  <c:v>16.05 - 22.05</c:v>
                </c:pt>
                <c:pt idx="32">
                  <c:v>23.05 - 29.05</c:v>
                </c:pt>
                <c:pt idx="33">
                  <c:v>30.05 - 05.06</c:v>
                </c:pt>
              </c:strCache>
            </c:strRef>
          </c:cat>
          <c:val>
            <c:numRef>
              <c:f>List1!$B$2:$AI$2</c:f>
              <c:numCache>
                <c:formatCode>General</c:formatCode>
                <c:ptCount val="34"/>
                <c:pt idx="0">
                  <c:v>106.30008708498001</c:v>
                </c:pt>
                <c:pt idx="1">
                  <c:v>238.51412574789001</c:v>
                </c:pt>
                <c:pt idx="2">
                  <c:v>276.94433965257599</c:v>
                </c:pt>
                <c:pt idx="3">
                  <c:v>257.90551808511702</c:v>
                </c:pt>
                <c:pt idx="4">
                  <c:v>178.577094887371</c:v>
                </c:pt>
                <c:pt idx="5">
                  <c:v>133.800607126865</c:v>
                </c:pt>
                <c:pt idx="6">
                  <c:v>132.390324047794</c:v>
                </c:pt>
                <c:pt idx="7">
                  <c:v>142.96744714082701</c:v>
                </c:pt>
                <c:pt idx="8">
                  <c:v>170.82053795248001</c:v>
                </c:pt>
                <c:pt idx="9">
                  <c:v>201.84676569204299</c:v>
                </c:pt>
                <c:pt idx="10">
                  <c:v>183.51308566411899</c:v>
                </c:pt>
                <c:pt idx="11">
                  <c:v>227.937002654857</c:v>
                </c:pt>
                <c:pt idx="12">
                  <c:v>268.83521194791803</c:v>
                </c:pt>
                <c:pt idx="13">
                  <c:v>240.27697959672901</c:v>
                </c:pt>
                <c:pt idx="14">
                  <c:v>223.52986803275999</c:v>
                </c:pt>
                <c:pt idx="15">
                  <c:v>224.23500957229601</c:v>
                </c:pt>
                <c:pt idx="16">
                  <c:v>247.32839499208399</c:v>
                </c:pt>
                <c:pt idx="17">
                  <c:v>264.42807732582099</c:v>
                </c:pt>
                <c:pt idx="18">
                  <c:v>334.942231279373</c:v>
                </c:pt>
                <c:pt idx="19">
                  <c:v>441.771174519005</c:v>
                </c:pt>
                <c:pt idx="20">
                  <c:v>450.76172914808302</c:v>
                </c:pt>
                <c:pt idx="21">
                  <c:v>379.54243365499502</c:v>
                </c:pt>
                <c:pt idx="22">
                  <c:v>333.88451897007002</c:v>
                </c:pt>
                <c:pt idx="23">
                  <c:v>276.59176888280899</c:v>
                </c:pt>
                <c:pt idx="24">
                  <c:v>198.497343379249</c:v>
                </c:pt>
                <c:pt idx="25">
                  <c:v>152.13428715478901</c:v>
                </c:pt>
                <c:pt idx="26">
                  <c:v>138.73659790361401</c:v>
                </c:pt>
                <c:pt idx="27">
                  <c:v>105.947516315212</c:v>
                </c:pt>
                <c:pt idx="28">
                  <c:v>94.841537067527</c:v>
                </c:pt>
                <c:pt idx="29">
                  <c:v>76.860427809371998</c:v>
                </c:pt>
                <c:pt idx="30">
                  <c:v>58.526747781448002</c:v>
                </c:pt>
                <c:pt idx="31">
                  <c:v>39.840496983756999</c:v>
                </c:pt>
                <c:pt idx="32">
                  <c:v>23.974812344206999</c:v>
                </c:pt>
                <c:pt idx="33">
                  <c:v>15.865684639549</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AI$1</c:f>
              <c:strCache>
                <c:ptCount val="34"/>
                <c:pt idx="0">
                  <c:v>11.10 - 17.10</c:v>
                </c:pt>
                <c:pt idx="1">
                  <c:v>18.10 - 24.10</c:v>
                </c:pt>
                <c:pt idx="2">
                  <c:v>25.10 - 31.10</c:v>
                </c:pt>
                <c:pt idx="3">
                  <c:v>01.11 - 07.11</c:v>
                </c:pt>
                <c:pt idx="4">
                  <c:v>08.11 - 14.11</c:v>
                </c:pt>
                <c:pt idx="5">
                  <c:v>15.11 - 21.11</c:v>
                </c:pt>
                <c:pt idx="6">
                  <c:v>22.11 - 28.11</c:v>
                </c:pt>
                <c:pt idx="7">
                  <c:v>29.11 - 05.12</c:v>
                </c:pt>
                <c:pt idx="8">
                  <c:v>06.12 - 12.12</c:v>
                </c:pt>
                <c:pt idx="9">
                  <c:v>13.12 - 19.12</c:v>
                </c:pt>
                <c:pt idx="10">
                  <c:v>20.12 - 26.12</c:v>
                </c:pt>
                <c:pt idx="11">
                  <c:v>27.12 - 02.01</c:v>
                </c:pt>
                <c:pt idx="12">
                  <c:v>03.01 - 09.01</c:v>
                </c:pt>
                <c:pt idx="13">
                  <c:v>10.01 - 16.01</c:v>
                </c:pt>
                <c:pt idx="14">
                  <c:v>17.01 - 23.01</c:v>
                </c:pt>
                <c:pt idx="15">
                  <c:v>24.01 - 30.01</c:v>
                </c:pt>
                <c:pt idx="16">
                  <c:v>31.01 - 06.02</c:v>
                </c:pt>
                <c:pt idx="17">
                  <c:v>07.02 - 13.02</c:v>
                </c:pt>
                <c:pt idx="18">
                  <c:v>14.02 - 20.02</c:v>
                </c:pt>
                <c:pt idx="19">
                  <c:v>21.02 - 27.02</c:v>
                </c:pt>
                <c:pt idx="20">
                  <c:v>28.02 - 06.03</c:v>
                </c:pt>
                <c:pt idx="21">
                  <c:v>07.03 - 13.03</c:v>
                </c:pt>
                <c:pt idx="22">
                  <c:v>14.03 - 20.03</c:v>
                </c:pt>
                <c:pt idx="23">
                  <c:v>21.03 - 27.03</c:v>
                </c:pt>
                <c:pt idx="24">
                  <c:v>28.03 - 03.04</c:v>
                </c:pt>
                <c:pt idx="25">
                  <c:v>04.04 - 10.04</c:v>
                </c:pt>
                <c:pt idx="26">
                  <c:v>11.04 - 17.04</c:v>
                </c:pt>
                <c:pt idx="27">
                  <c:v>18.04 - 24.04</c:v>
                </c:pt>
                <c:pt idx="28">
                  <c:v>25.04 - 01.05</c:v>
                </c:pt>
                <c:pt idx="29">
                  <c:v>02.05 - 08.05</c:v>
                </c:pt>
                <c:pt idx="30">
                  <c:v>09.05 - 15.05</c:v>
                </c:pt>
                <c:pt idx="31">
                  <c:v>16.05 - 22.05</c:v>
                </c:pt>
                <c:pt idx="32">
                  <c:v>23.05 - 29.05</c:v>
                </c:pt>
                <c:pt idx="33">
                  <c:v>30.05 - 05.06</c:v>
                </c:pt>
              </c:strCache>
            </c:strRef>
          </c:cat>
          <c:val>
            <c:numRef>
              <c:f>List1!$B$3:$AI$3</c:f>
              <c:numCache>
                <c:formatCode>General</c:formatCode>
                <c:ptCount val="34"/>
                <c:pt idx="0">
                  <c:v>298.18351851550801</c:v>
                </c:pt>
                <c:pt idx="1">
                  <c:v>432.70991932166601</c:v>
                </c:pt>
                <c:pt idx="2">
                  <c:v>417.95702406597201</c:v>
                </c:pt>
                <c:pt idx="3">
                  <c:v>355.94485417763201</c:v>
                </c:pt>
                <c:pt idx="4">
                  <c:v>252.549562851709</c:v>
                </c:pt>
                <c:pt idx="5">
                  <c:v>182.41079811912999</c:v>
                </c:pt>
                <c:pt idx="6">
                  <c:v>165.53248575032799</c:v>
                </c:pt>
                <c:pt idx="7">
                  <c:v>176.28459585193499</c:v>
                </c:pt>
                <c:pt idx="8">
                  <c:v>247.79863048123099</c:v>
                </c:pt>
                <c:pt idx="9">
                  <c:v>311.81119294661499</c:v>
                </c:pt>
                <c:pt idx="10">
                  <c:v>310.56094758596299</c:v>
                </c:pt>
                <c:pt idx="11">
                  <c:v>392.70206778080097</c:v>
                </c:pt>
                <c:pt idx="12">
                  <c:v>472.34269725433597</c:v>
                </c:pt>
                <c:pt idx="13">
                  <c:v>439.83631787738301</c:v>
                </c:pt>
                <c:pt idx="14">
                  <c:v>419.20726942662401</c:v>
                </c:pt>
                <c:pt idx="15">
                  <c:v>397.70304922341001</c:v>
                </c:pt>
                <c:pt idx="16">
                  <c:v>446.96271643309899</c:v>
                </c:pt>
                <c:pt idx="17">
                  <c:v>488.47086240674702</c:v>
                </c:pt>
                <c:pt idx="18">
                  <c:v>640.25064918990302</c:v>
                </c:pt>
                <c:pt idx="19">
                  <c:v>780.90325226325604</c:v>
                </c:pt>
                <c:pt idx="20">
                  <c:v>726.89265268308895</c:v>
                </c:pt>
                <c:pt idx="21">
                  <c:v>564.61080487045501</c:v>
                </c:pt>
                <c:pt idx="22">
                  <c:v>451.71364880357697</c:v>
                </c:pt>
                <c:pt idx="23">
                  <c:v>358.94544304319697</c:v>
                </c:pt>
                <c:pt idx="24">
                  <c:v>253.174685532035</c:v>
                </c:pt>
                <c:pt idx="25">
                  <c:v>198.91403687973701</c:v>
                </c:pt>
                <c:pt idx="26">
                  <c:v>199.164085951868</c:v>
                </c:pt>
                <c:pt idx="27">
                  <c:v>172.658884306045</c:v>
                </c:pt>
                <c:pt idx="28">
                  <c:v>146.77880534054799</c:v>
                </c:pt>
                <c:pt idx="29">
                  <c:v>118.148186581616</c:v>
                </c:pt>
                <c:pt idx="30">
                  <c:v>76.890089680098995</c:v>
                </c:pt>
                <c:pt idx="31">
                  <c:v>63.387439785056998</c:v>
                </c:pt>
                <c:pt idx="32">
                  <c:v>45.633955663799</c:v>
                </c:pt>
                <c:pt idx="33">
                  <c:v>30.756035872039</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AI$1</c:f>
              <c:strCache>
                <c:ptCount val="34"/>
                <c:pt idx="0">
                  <c:v>11.10 - 17.10</c:v>
                </c:pt>
                <c:pt idx="1">
                  <c:v>18.10 - 24.10</c:v>
                </c:pt>
                <c:pt idx="2">
                  <c:v>25.10 - 31.10</c:v>
                </c:pt>
                <c:pt idx="3">
                  <c:v>01.11 - 07.11</c:v>
                </c:pt>
                <c:pt idx="4">
                  <c:v>08.11 - 14.11</c:v>
                </c:pt>
                <c:pt idx="5">
                  <c:v>15.11 - 21.11</c:v>
                </c:pt>
                <c:pt idx="6">
                  <c:v>22.11 - 28.11</c:v>
                </c:pt>
                <c:pt idx="7">
                  <c:v>29.11 - 05.12</c:v>
                </c:pt>
                <c:pt idx="8">
                  <c:v>06.12 - 12.12</c:v>
                </c:pt>
                <c:pt idx="9">
                  <c:v>13.12 - 19.12</c:v>
                </c:pt>
                <c:pt idx="10">
                  <c:v>20.12 - 26.12</c:v>
                </c:pt>
                <c:pt idx="11">
                  <c:v>27.12 - 02.01</c:v>
                </c:pt>
                <c:pt idx="12">
                  <c:v>03.01 - 09.01</c:v>
                </c:pt>
                <c:pt idx="13">
                  <c:v>10.01 - 16.01</c:v>
                </c:pt>
                <c:pt idx="14">
                  <c:v>17.01 - 23.01</c:v>
                </c:pt>
                <c:pt idx="15">
                  <c:v>24.01 - 30.01</c:v>
                </c:pt>
                <c:pt idx="16">
                  <c:v>31.01 - 06.02</c:v>
                </c:pt>
                <c:pt idx="17">
                  <c:v>07.02 - 13.02</c:v>
                </c:pt>
                <c:pt idx="18">
                  <c:v>14.02 - 20.02</c:v>
                </c:pt>
                <c:pt idx="19">
                  <c:v>21.02 - 27.02</c:v>
                </c:pt>
                <c:pt idx="20">
                  <c:v>28.02 - 06.03</c:v>
                </c:pt>
                <c:pt idx="21">
                  <c:v>07.03 - 13.03</c:v>
                </c:pt>
                <c:pt idx="22">
                  <c:v>14.03 - 20.03</c:v>
                </c:pt>
                <c:pt idx="23">
                  <c:v>21.03 - 27.03</c:v>
                </c:pt>
                <c:pt idx="24">
                  <c:v>28.03 - 03.04</c:v>
                </c:pt>
                <c:pt idx="25">
                  <c:v>04.04 - 10.04</c:v>
                </c:pt>
                <c:pt idx="26">
                  <c:v>11.04 - 17.04</c:v>
                </c:pt>
                <c:pt idx="27">
                  <c:v>18.04 - 24.04</c:v>
                </c:pt>
                <c:pt idx="28">
                  <c:v>25.04 - 01.05</c:v>
                </c:pt>
                <c:pt idx="29">
                  <c:v>02.05 - 08.05</c:v>
                </c:pt>
                <c:pt idx="30">
                  <c:v>09.05 - 15.05</c:v>
                </c:pt>
                <c:pt idx="31">
                  <c:v>16.05 - 22.05</c:v>
                </c:pt>
                <c:pt idx="32">
                  <c:v>23.05 - 29.05</c:v>
                </c:pt>
                <c:pt idx="33">
                  <c:v>30.05 - 05.06</c:v>
                </c:pt>
              </c:strCache>
            </c:strRef>
          </c:cat>
          <c:val>
            <c:numRef>
              <c:f>List1!$B$4:$AI$4</c:f>
              <c:numCache>
                <c:formatCode>General</c:formatCode>
                <c:ptCount val="34"/>
                <c:pt idx="0">
                  <c:v>384.42104364204801</c:v>
                </c:pt>
                <c:pt idx="1">
                  <c:v>547.63096528705205</c:v>
                </c:pt>
                <c:pt idx="2">
                  <c:v>568.26942921599903</c:v>
                </c:pt>
                <c:pt idx="3">
                  <c:v>538.37924007752395</c:v>
                </c:pt>
                <c:pt idx="4">
                  <c:v>353.10751216364599</c:v>
                </c:pt>
                <c:pt idx="5">
                  <c:v>237.10511145956599</c:v>
                </c:pt>
                <c:pt idx="6">
                  <c:v>212.908291680801</c:v>
                </c:pt>
                <c:pt idx="7">
                  <c:v>204.01240205625501</c:v>
                </c:pt>
                <c:pt idx="8">
                  <c:v>274.349236020999</c:v>
                </c:pt>
                <c:pt idx="9">
                  <c:v>407.90619225084902</c:v>
                </c:pt>
                <c:pt idx="10">
                  <c:v>402.56865847612198</c:v>
                </c:pt>
                <c:pt idx="11">
                  <c:v>557.11991421990103</c:v>
                </c:pt>
                <c:pt idx="12">
                  <c:v>709.41754459212905</c:v>
                </c:pt>
                <c:pt idx="13">
                  <c:v>460.80708255148301</c:v>
                </c:pt>
                <c:pt idx="14">
                  <c:v>365.68036949967097</c:v>
                </c:pt>
                <c:pt idx="15">
                  <c:v>356.66586801346398</c:v>
                </c:pt>
                <c:pt idx="16">
                  <c:v>386.67466901360001</c:v>
                </c:pt>
                <c:pt idx="17">
                  <c:v>412.88789044059502</c:v>
                </c:pt>
                <c:pt idx="18">
                  <c:v>523.31553364662602</c:v>
                </c:pt>
                <c:pt idx="19">
                  <c:v>685.57656039834603</c:v>
                </c:pt>
                <c:pt idx="20">
                  <c:v>723.05790868309896</c:v>
                </c:pt>
                <c:pt idx="21">
                  <c:v>702.06360916917095</c:v>
                </c:pt>
                <c:pt idx="22">
                  <c:v>607.52995542566202</c:v>
                </c:pt>
                <c:pt idx="23">
                  <c:v>456.53705553170101</c:v>
                </c:pt>
                <c:pt idx="24">
                  <c:v>339.58575993433601</c:v>
                </c:pt>
                <c:pt idx="25">
                  <c:v>260.946095653349</c:v>
                </c:pt>
                <c:pt idx="26">
                  <c:v>231.53035396151699</c:v>
                </c:pt>
                <c:pt idx="27">
                  <c:v>169.14051472803399</c:v>
                </c:pt>
                <c:pt idx="28">
                  <c:v>148.97649824573</c:v>
                </c:pt>
                <c:pt idx="29">
                  <c:v>114.341834640831</c:v>
                </c:pt>
                <c:pt idx="30">
                  <c:v>79.351335450950003</c:v>
                </c:pt>
                <c:pt idx="31">
                  <c:v>60.610661308573</c:v>
                </c:pt>
                <c:pt idx="32">
                  <c:v>46.851685355942003</c:v>
                </c:pt>
                <c:pt idx="33">
                  <c:v>41.988599027856999</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AI$1</c:f>
              <c:strCache>
                <c:ptCount val="34"/>
                <c:pt idx="0">
                  <c:v>11.10 - 17.10</c:v>
                </c:pt>
                <c:pt idx="1">
                  <c:v>18.10 - 24.10</c:v>
                </c:pt>
                <c:pt idx="2">
                  <c:v>25.10 - 31.10</c:v>
                </c:pt>
                <c:pt idx="3">
                  <c:v>01.11 - 07.11</c:v>
                </c:pt>
                <c:pt idx="4">
                  <c:v>08.11 - 14.11</c:v>
                </c:pt>
                <c:pt idx="5">
                  <c:v>15.11 - 21.11</c:v>
                </c:pt>
                <c:pt idx="6">
                  <c:v>22.11 - 28.11</c:v>
                </c:pt>
                <c:pt idx="7">
                  <c:v>29.11 - 05.12</c:v>
                </c:pt>
                <c:pt idx="8">
                  <c:v>06.12 - 12.12</c:v>
                </c:pt>
                <c:pt idx="9">
                  <c:v>13.12 - 19.12</c:v>
                </c:pt>
                <c:pt idx="10">
                  <c:v>20.12 - 26.12</c:v>
                </c:pt>
                <c:pt idx="11">
                  <c:v>27.12 - 02.01</c:v>
                </c:pt>
                <c:pt idx="12">
                  <c:v>03.01 - 09.01</c:v>
                </c:pt>
                <c:pt idx="13">
                  <c:v>10.01 - 16.01</c:v>
                </c:pt>
                <c:pt idx="14">
                  <c:v>17.01 - 23.01</c:v>
                </c:pt>
                <c:pt idx="15">
                  <c:v>24.01 - 30.01</c:v>
                </c:pt>
                <c:pt idx="16">
                  <c:v>31.01 - 06.02</c:v>
                </c:pt>
                <c:pt idx="17">
                  <c:v>07.02 - 13.02</c:v>
                </c:pt>
                <c:pt idx="18">
                  <c:v>14.02 - 20.02</c:v>
                </c:pt>
                <c:pt idx="19">
                  <c:v>21.02 - 27.02</c:v>
                </c:pt>
                <c:pt idx="20">
                  <c:v>28.02 - 06.03</c:v>
                </c:pt>
                <c:pt idx="21">
                  <c:v>07.03 - 13.03</c:v>
                </c:pt>
                <c:pt idx="22">
                  <c:v>14.03 - 20.03</c:v>
                </c:pt>
                <c:pt idx="23">
                  <c:v>21.03 - 27.03</c:v>
                </c:pt>
                <c:pt idx="24">
                  <c:v>28.03 - 03.04</c:v>
                </c:pt>
                <c:pt idx="25">
                  <c:v>04.04 - 10.04</c:v>
                </c:pt>
                <c:pt idx="26">
                  <c:v>11.04 - 17.04</c:v>
                </c:pt>
                <c:pt idx="27">
                  <c:v>18.04 - 24.04</c:v>
                </c:pt>
                <c:pt idx="28">
                  <c:v>25.04 - 01.05</c:v>
                </c:pt>
                <c:pt idx="29">
                  <c:v>02.05 - 08.05</c:v>
                </c:pt>
                <c:pt idx="30">
                  <c:v>09.05 - 15.05</c:v>
                </c:pt>
                <c:pt idx="31">
                  <c:v>16.05 - 22.05</c:v>
                </c:pt>
                <c:pt idx="32">
                  <c:v>23.05 - 29.05</c:v>
                </c:pt>
                <c:pt idx="33">
                  <c:v>30.05 - 05.06</c:v>
                </c:pt>
              </c:strCache>
            </c:strRef>
          </c:cat>
          <c:val>
            <c:numRef>
              <c:f>List1!$B$5:$AI$5</c:f>
              <c:numCache>
                <c:formatCode>General</c:formatCode>
                <c:ptCount val="34"/>
                <c:pt idx="0">
                  <c:v>281.83084629337401</c:v>
                </c:pt>
                <c:pt idx="1">
                  <c:v>426.70520330595798</c:v>
                </c:pt>
                <c:pt idx="2">
                  <c:v>439.10232192602302</c:v>
                </c:pt>
                <c:pt idx="3">
                  <c:v>400.37263747793702</c:v>
                </c:pt>
                <c:pt idx="4">
                  <c:v>271.92220038901598</c:v>
                </c:pt>
                <c:pt idx="5">
                  <c:v>190.797989856985</c:v>
                </c:pt>
                <c:pt idx="6">
                  <c:v>175.09798926880001</c:v>
                </c:pt>
                <c:pt idx="7">
                  <c:v>178.310381319985</c:v>
                </c:pt>
                <c:pt idx="8">
                  <c:v>238.169461372342</c:v>
                </c:pt>
                <c:pt idx="9">
                  <c:v>320.24381603218899</c:v>
                </c:pt>
                <c:pt idx="10">
                  <c:v>313.04986763587402</c:v>
                </c:pt>
                <c:pt idx="11">
                  <c:v>413.13171576574098</c:v>
                </c:pt>
                <c:pt idx="12">
                  <c:v>510.54411134603203</c:v>
                </c:pt>
                <c:pt idx="13">
                  <c:v>396.61730592514402</c:v>
                </c:pt>
                <c:pt idx="14">
                  <c:v>348.56716003277501</c:v>
                </c:pt>
                <c:pt idx="15">
                  <c:v>337.527390166732</c:v>
                </c:pt>
                <c:pt idx="16">
                  <c:v>372.727967854361</c:v>
                </c:pt>
                <c:pt idx="17">
                  <c:v>402.13719085816501</c:v>
                </c:pt>
                <c:pt idx="18">
                  <c:v>517.285610157674</c:v>
                </c:pt>
                <c:pt idx="19">
                  <c:v>657.49973644811598</c:v>
                </c:pt>
                <c:pt idx="20">
                  <c:v>654.55881414773603</c:v>
                </c:pt>
                <c:pt idx="21">
                  <c:v>569.54353718750997</c:v>
                </c:pt>
                <c:pt idx="22">
                  <c:v>480.90866354989203</c:v>
                </c:pt>
                <c:pt idx="23">
                  <c:v>375.03546073619799</c:v>
                </c:pt>
                <c:pt idx="24">
                  <c:v>272.10318022288499</c:v>
                </c:pt>
                <c:pt idx="25">
                  <c:v>210.57003670723401</c:v>
                </c:pt>
                <c:pt idx="26">
                  <c:v>196.00116008073499</c:v>
                </c:pt>
                <c:pt idx="27">
                  <c:v>154.19481845686599</c:v>
                </c:pt>
                <c:pt idx="28">
                  <c:v>134.28703673121399</c:v>
                </c:pt>
                <c:pt idx="29">
                  <c:v>106.09942760603001</c:v>
                </c:pt>
                <c:pt idx="30">
                  <c:v>73.115852883301997</c:v>
                </c:pt>
                <c:pt idx="31">
                  <c:v>56.284728333433002</c:v>
                </c:pt>
                <c:pt idx="32">
                  <c:v>40.539482786781001</c:v>
                </c:pt>
                <c:pt idx="33">
                  <c:v>31.219021342499001</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AI$1</c:f>
              <c:strCache>
                <c:ptCount val="34"/>
                <c:pt idx="0">
                  <c:v>11.10 - 17.10</c:v>
                </c:pt>
                <c:pt idx="1">
                  <c:v>18.10 - 24.10</c:v>
                </c:pt>
                <c:pt idx="2">
                  <c:v>25.10 - 31.10</c:v>
                </c:pt>
                <c:pt idx="3">
                  <c:v>01.11 - 07.11</c:v>
                </c:pt>
                <c:pt idx="4">
                  <c:v>08.11 - 14.11</c:v>
                </c:pt>
                <c:pt idx="5">
                  <c:v>15.11 - 21.11</c:v>
                </c:pt>
                <c:pt idx="6">
                  <c:v>22.11 - 28.11</c:v>
                </c:pt>
                <c:pt idx="7">
                  <c:v>29.11 - 05.12</c:v>
                </c:pt>
                <c:pt idx="8">
                  <c:v>06.12 - 12.12</c:v>
                </c:pt>
                <c:pt idx="9">
                  <c:v>13.12 - 19.12</c:v>
                </c:pt>
                <c:pt idx="10">
                  <c:v>20.12 - 26.12</c:v>
                </c:pt>
                <c:pt idx="11">
                  <c:v>27.12 - 02.01</c:v>
                </c:pt>
                <c:pt idx="12">
                  <c:v>03.01 - 09.01</c:v>
                </c:pt>
                <c:pt idx="13">
                  <c:v>10.01 - 16.01</c:v>
                </c:pt>
                <c:pt idx="14">
                  <c:v>17.01 - 23.01</c:v>
                </c:pt>
                <c:pt idx="15">
                  <c:v>24.01 - 30.01</c:v>
                </c:pt>
                <c:pt idx="16">
                  <c:v>31.01 - 06.02</c:v>
                </c:pt>
                <c:pt idx="17">
                  <c:v>07.02 - 13.02</c:v>
                </c:pt>
                <c:pt idx="18">
                  <c:v>14.02 - 20.02</c:v>
                </c:pt>
                <c:pt idx="19">
                  <c:v>21.02 - 27.02</c:v>
                </c:pt>
                <c:pt idx="20">
                  <c:v>28.02 - 06.03</c:v>
                </c:pt>
                <c:pt idx="21">
                  <c:v>07.03 - 13.03</c:v>
                </c:pt>
                <c:pt idx="22">
                  <c:v>14.03 - 20.03</c:v>
                </c:pt>
                <c:pt idx="23">
                  <c:v>21.03 - 27.03</c:v>
                </c:pt>
                <c:pt idx="24">
                  <c:v>28.03 - 03.04</c:v>
                </c:pt>
                <c:pt idx="25">
                  <c:v>04.04 - 10.04</c:v>
                </c:pt>
                <c:pt idx="26">
                  <c:v>11.04 - 17.04</c:v>
                </c:pt>
                <c:pt idx="27">
                  <c:v>18.04 - 24.04</c:v>
                </c:pt>
                <c:pt idx="28">
                  <c:v>25.04 - 01.05</c:v>
                </c:pt>
                <c:pt idx="29">
                  <c:v>02.05 - 08.05</c:v>
                </c:pt>
                <c:pt idx="30">
                  <c:v>09.05 - 15.05</c:v>
                </c:pt>
                <c:pt idx="31">
                  <c:v>16.05 - 22.05</c:v>
                </c:pt>
                <c:pt idx="32">
                  <c:v>23.05 - 29.05</c:v>
                </c:pt>
                <c:pt idx="33">
                  <c:v>30.05 - 05.06</c:v>
                </c:pt>
              </c:strCache>
            </c:strRef>
          </c:cat>
          <c:val>
            <c:numRef>
              <c:f>List1!$B$6:$AI$6</c:f>
              <c:numCache>
                <c:formatCode>General</c:formatCode>
                <c:ptCount val="34"/>
                <c:pt idx="0">
                  <c:v>512.27006505555096</c:v>
                </c:pt>
                <c:pt idx="1">
                  <c:v>765.92887330767496</c:v>
                </c:pt>
                <c:pt idx="2">
                  <c:v>787.67292572065298</c:v>
                </c:pt>
                <c:pt idx="3">
                  <c:v>711.17161196687198</c:v>
                </c:pt>
                <c:pt idx="4">
                  <c:v>439.758742870459</c:v>
                </c:pt>
                <c:pt idx="5">
                  <c:v>304.02427559460398</c:v>
                </c:pt>
                <c:pt idx="6">
                  <c:v>260.29322046235802</c:v>
                </c:pt>
                <c:pt idx="7">
                  <c:v>252.94864581835299</c:v>
                </c:pt>
                <c:pt idx="8">
                  <c:v>311.80802963844201</c:v>
                </c:pt>
                <c:pt idx="9">
                  <c:v>421.59353535398799</c:v>
                </c:pt>
                <c:pt idx="10">
                  <c:v>434.33908219167699</c:v>
                </c:pt>
                <c:pt idx="11">
                  <c:v>654.05025726101303</c:v>
                </c:pt>
                <c:pt idx="12">
                  <c:v>848.58804290165995</c:v>
                </c:pt>
                <c:pt idx="13">
                  <c:v>542.554755158886</c:v>
                </c:pt>
                <c:pt idx="14">
                  <c:v>452.03707758066702</c:v>
                </c:pt>
                <c:pt idx="15">
                  <c:v>440.90808470406301</c:v>
                </c:pt>
                <c:pt idx="16">
                  <c:v>468.68851780409898</c:v>
                </c:pt>
                <c:pt idx="17">
                  <c:v>495.59993634701902</c:v>
                </c:pt>
                <c:pt idx="18">
                  <c:v>608.300845738048</c:v>
                </c:pt>
                <c:pt idx="19">
                  <c:v>769.04050607670104</c:v>
                </c:pt>
                <c:pt idx="20">
                  <c:v>802.45551743416002</c:v>
                </c:pt>
                <c:pt idx="21">
                  <c:v>726.00092489312703</c:v>
                </c:pt>
                <c:pt idx="22">
                  <c:v>615.36509310556505</c:v>
                </c:pt>
                <c:pt idx="23">
                  <c:v>467.707372336388</c:v>
                </c:pt>
                <c:pt idx="24">
                  <c:v>343.99894522189999</c:v>
                </c:pt>
                <c:pt idx="25">
                  <c:v>264.28321203104798</c:v>
                </c:pt>
                <c:pt idx="26">
                  <c:v>202.25612998663601</c:v>
                </c:pt>
                <c:pt idx="27">
                  <c:v>163.29998279724899</c:v>
                </c:pt>
                <c:pt idx="28">
                  <c:v>137.31364426674099</c:v>
                </c:pt>
                <c:pt idx="29">
                  <c:v>102.31945591839499</c:v>
                </c:pt>
                <c:pt idx="30">
                  <c:v>72.436568244694001</c:v>
                </c:pt>
                <c:pt idx="31">
                  <c:v>47.123015177759001</c:v>
                </c:pt>
                <c:pt idx="32">
                  <c:v>30.536984652175001</c:v>
                </c:pt>
                <c:pt idx="33">
                  <c:v>22.005691204367</c:v>
                </c:pt>
              </c:numCache>
            </c:numRef>
          </c:val>
          <c:smooth val="0"/>
          <c:extLst>
            <c:ext xmlns:c16="http://schemas.microsoft.com/office/drawing/2014/chart" uri="{C3380CC4-5D6E-409C-BE32-E72D297353CC}">
              <c16:uniqueId val="{00000004-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7931538510184626"/>
          <c:y val="0.17604285426459837"/>
          <c:w val="0.11709342660913936"/>
          <c:h val="0.6601720261522694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userShapes r:id="rId4"/>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58</c:v>
                </c:pt>
                <c:pt idx="1">
                  <c:v>44259</c:v>
                </c:pt>
                <c:pt idx="2">
                  <c:v>44260</c:v>
                </c:pt>
                <c:pt idx="3">
                  <c:v>44261</c:v>
                </c:pt>
                <c:pt idx="4">
                  <c:v>44262</c:v>
                </c:pt>
                <c:pt idx="5">
                  <c:v>44263</c:v>
                </c:pt>
                <c:pt idx="6">
                  <c:v>44264</c:v>
                </c:pt>
                <c:pt idx="7">
                  <c:v>44265</c:v>
                </c:pt>
                <c:pt idx="8">
                  <c:v>44266</c:v>
                </c:pt>
                <c:pt idx="9">
                  <c:v>44267</c:v>
                </c:pt>
                <c:pt idx="10">
                  <c:v>44268</c:v>
                </c:pt>
                <c:pt idx="11">
                  <c:v>44269</c:v>
                </c:pt>
                <c:pt idx="12">
                  <c:v>44270</c:v>
                </c:pt>
                <c:pt idx="13">
                  <c:v>44271</c:v>
                </c:pt>
                <c:pt idx="14">
                  <c:v>44272</c:v>
                </c:pt>
                <c:pt idx="15">
                  <c:v>44273</c:v>
                </c:pt>
                <c:pt idx="16">
                  <c:v>44274</c:v>
                </c:pt>
                <c:pt idx="17">
                  <c:v>44275</c:v>
                </c:pt>
                <c:pt idx="18">
                  <c:v>44276</c:v>
                </c:pt>
                <c:pt idx="19">
                  <c:v>44277</c:v>
                </c:pt>
                <c:pt idx="20">
                  <c:v>44278</c:v>
                </c:pt>
                <c:pt idx="21">
                  <c:v>44279</c:v>
                </c:pt>
                <c:pt idx="22">
                  <c:v>44280</c:v>
                </c:pt>
                <c:pt idx="23">
                  <c:v>44281</c:v>
                </c:pt>
                <c:pt idx="24">
                  <c:v>44282</c:v>
                </c:pt>
                <c:pt idx="25">
                  <c:v>44283</c:v>
                </c:pt>
                <c:pt idx="26">
                  <c:v>44284</c:v>
                </c:pt>
                <c:pt idx="27">
                  <c:v>44285</c:v>
                </c:pt>
                <c:pt idx="28">
                  <c:v>44286</c:v>
                </c:pt>
                <c:pt idx="29">
                  <c:v>44287</c:v>
                </c:pt>
                <c:pt idx="30">
                  <c:v>44288</c:v>
                </c:pt>
                <c:pt idx="31">
                  <c:v>44289</c:v>
                </c:pt>
                <c:pt idx="32">
                  <c:v>44290</c:v>
                </c:pt>
                <c:pt idx="33">
                  <c:v>44291</c:v>
                </c:pt>
                <c:pt idx="34">
                  <c:v>44292</c:v>
                </c:pt>
                <c:pt idx="35">
                  <c:v>44293</c:v>
                </c:pt>
                <c:pt idx="36">
                  <c:v>44294</c:v>
                </c:pt>
                <c:pt idx="37">
                  <c:v>44295</c:v>
                </c:pt>
                <c:pt idx="38">
                  <c:v>44296</c:v>
                </c:pt>
                <c:pt idx="39">
                  <c:v>44297</c:v>
                </c:pt>
                <c:pt idx="40">
                  <c:v>44298</c:v>
                </c:pt>
                <c:pt idx="41">
                  <c:v>44299</c:v>
                </c:pt>
                <c:pt idx="42">
                  <c:v>44300</c:v>
                </c:pt>
                <c:pt idx="43">
                  <c:v>44301</c:v>
                </c:pt>
                <c:pt idx="44">
                  <c:v>44302</c:v>
                </c:pt>
                <c:pt idx="45">
                  <c:v>44303</c:v>
                </c:pt>
                <c:pt idx="46">
                  <c:v>44304</c:v>
                </c:pt>
                <c:pt idx="47">
                  <c:v>44305</c:v>
                </c:pt>
                <c:pt idx="48">
                  <c:v>44306</c:v>
                </c:pt>
                <c:pt idx="49">
                  <c:v>44307</c:v>
                </c:pt>
                <c:pt idx="50">
                  <c:v>44308</c:v>
                </c:pt>
                <c:pt idx="51">
                  <c:v>44309</c:v>
                </c:pt>
                <c:pt idx="52">
                  <c:v>44310</c:v>
                </c:pt>
                <c:pt idx="53">
                  <c:v>44311</c:v>
                </c:pt>
                <c:pt idx="54">
                  <c:v>44312</c:v>
                </c:pt>
                <c:pt idx="55">
                  <c:v>44313</c:v>
                </c:pt>
                <c:pt idx="56">
                  <c:v>44314</c:v>
                </c:pt>
                <c:pt idx="57">
                  <c:v>44315</c:v>
                </c:pt>
                <c:pt idx="58">
                  <c:v>44316</c:v>
                </c:pt>
                <c:pt idx="59">
                  <c:v>44317</c:v>
                </c:pt>
                <c:pt idx="60">
                  <c:v>44318</c:v>
                </c:pt>
                <c:pt idx="61">
                  <c:v>44319</c:v>
                </c:pt>
                <c:pt idx="62">
                  <c:v>44320</c:v>
                </c:pt>
                <c:pt idx="63">
                  <c:v>44321</c:v>
                </c:pt>
                <c:pt idx="64">
                  <c:v>44322</c:v>
                </c:pt>
                <c:pt idx="65">
                  <c:v>44323</c:v>
                </c:pt>
                <c:pt idx="66">
                  <c:v>44324</c:v>
                </c:pt>
                <c:pt idx="67">
                  <c:v>44325</c:v>
                </c:pt>
                <c:pt idx="68">
                  <c:v>44326</c:v>
                </c:pt>
                <c:pt idx="69">
                  <c:v>44327</c:v>
                </c:pt>
                <c:pt idx="70">
                  <c:v>44328</c:v>
                </c:pt>
                <c:pt idx="71">
                  <c:v>44329</c:v>
                </c:pt>
                <c:pt idx="72">
                  <c:v>44330</c:v>
                </c:pt>
                <c:pt idx="73">
                  <c:v>44331</c:v>
                </c:pt>
                <c:pt idx="74">
                  <c:v>44332</c:v>
                </c:pt>
                <c:pt idx="75">
                  <c:v>44333</c:v>
                </c:pt>
                <c:pt idx="76">
                  <c:v>44334</c:v>
                </c:pt>
                <c:pt idx="77">
                  <c:v>44335</c:v>
                </c:pt>
                <c:pt idx="78">
                  <c:v>44336</c:v>
                </c:pt>
                <c:pt idx="79">
                  <c:v>44337</c:v>
                </c:pt>
                <c:pt idx="80">
                  <c:v>44338</c:v>
                </c:pt>
                <c:pt idx="81">
                  <c:v>44339</c:v>
                </c:pt>
                <c:pt idx="82">
                  <c:v>44340</c:v>
                </c:pt>
                <c:pt idx="83">
                  <c:v>44341</c:v>
                </c:pt>
                <c:pt idx="84">
                  <c:v>44342</c:v>
                </c:pt>
                <c:pt idx="85">
                  <c:v>44343</c:v>
                </c:pt>
                <c:pt idx="86">
                  <c:v>44344</c:v>
                </c:pt>
                <c:pt idx="87">
                  <c:v>44345</c:v>
                </c:pt>
                <c:pt idx="88">
                  <c:v>44346</c:v>
                </c:pt>
                <c:pt idx="89">
                  <c:v>44347</c:v>
                </c:pt>
                <c:pt idx="90">
                  <c:v>44348</c:v>
                </c:pt>
                <c:pt idx="91">
                  <c:v>44349</c:v>
                </c:pt>
                <c:pt idx="92">
                  <c:v>44350</c:v>
                </c:pt>
                <c:pt idx="93">
                  <c:v>44351</c:v>
                </c:pt>
                <c:pt idx="94">
                  <c:v>44352</c:v>
                </c:pt>
              </c:numCache>
            </c:numRef>
          </c:cat>
          <c:val>
            <c:numRef>
              <c:f>Sheet1!$B$2:$B$96</c:f>
              <c:numCache>
                <c:formatCode>General</c:formatCode>
                <c:ptCount val="95"/>
                <c:pt idx="0">
                  <c:v>406</c:v>
                </c:pt>
                <c:pt idx="1">
                  <c:v>425</c:v>
                </c:pt>
                <c:pt idx="2">
                  <c:v>430</c:v>
                </c:pt>
                <c:pt idx="3">
                  <c:v>310</c:v>
                </c:pt>
                <c:pt idx="4">
                  <c:v>111</c:v>
                </c:pt>
                <c:pt idx="5">
                  <c:v>324</c:v>
                </c:pt>
                <c:pt idx="6">
                  <c:v>429</c:v>
                </c:pt>
                <c:pt idx="7">
                  <c:v>418</c:v>
                </c:pt>
                <c:pt idx="8">
                  <c:v>274</c:v>
                </c:pt>
                <c:pt idx="9">
                  <c:v>407</c:v>
                </c:pt>
                <c:pt idx="10">
                  <c:v>190</c:v>
                </c:pt>
                <c:pt idx="11">
                  <c:v>98</c:v>
                </c:pt>
                <c:pt idx="12">
                  <c:v>332</c:v>
                </c:pt>
                <c:pt idx="13">
                  <c:v>395</c:v>
                </c:pt>
                <c:pt idx="14">
                  <c:v>343</c:v>
                </c:pt>
                <c:pt idx="15">
                  <c:v>273</c:v>
                </c:pt>
                <c:pt idx="16">
                  <c:v>283</c:v>
                </c:pt>
                <c:pt idx="17">
                  <c:v>170</c:v>
                </c:pt>
                <c:pt idx="18">
                  <c:v>77</c:v>
                </c:pt>
                <c:pt idx="19">
                  <c:v>277</c:v>
                </c:pt>
                <c:pt idx="20">
                  <c:v>327</c:v>
                </c:pt>
                <c:pt idx="21">
                  <c:v>244</c:v>
                </c:pt>
                <c:pt idx="22">
                  <c:v>231</c:v>
                </c:pt>
                <c:pt idx="23">
                  <c:v>266</c:v>
                </c:pt>
                <c:pt idx="24">
                  <c:v>147</c:v>
                </c:pt>
                <c:pt idx="25">
                  <c:v>54</c:v>
                </c:pt>
                <c:pt idx="26">
                  <c:v>231</c:v>
                </c:pt>
                <c:pt idx="27">
                  <c:v>237</c:v>
                </c:pt>
                <c:pt idx="28">
                  <c:v>213</c:v>
                </c:pt>
                <c:pt idx="29">
                  <c:v>184</c:v>
                </c:pt>
                <c:pt idx="30">
                  <c:v>127</c:v>
                </c:pt>
                <c:pt idx="31">
                  <c:v>80</c:v>
                </c:pt>
                <c:pt idx="32">
                  <c:v>67</c:v>
                </c:pt>
                <c:pt idx="33">
                  <c:v>59</c:v>
                </c:pt>
                <c:pt idx="34">
                  <c:v>202</c:v>
                </c:pt>
                <c:pt idx="35">
                  <c:v>202</c:v>
                </c:pt>
                <c:pt idx="36">
                  <c:v>137</c:v>
                </c:pt>
                <c:pt idx="37">
                  <c:v>126</c:v>
                </c:pt>
                <c:pt idx="38">
                  <c:v>70</c:v>
                </c:pt>
                <c:pt idx="39">
                  <c:v>38</c:v>
                </c:pt>
                <c:pt idx="40">
                  <c:v>131</c:v>
                </c:pt>
                <c:pt idx="41">
                  <c:v>193</c:v>
                </c:pt>
                <c:pt idx="42">
                  <c:v>117</c:v>
                </c:pt>
                <c:pt idx="43">
                  <c:v>104</c:v>
                </c:pt>
                <c:pt idx="44">
                  <c:v>143</c:v>
                </c:pt>
                <c:pt idx="45">
                  <c:v>61</c:v>
                </c:pt>
                <c:pt idx="46">
                  <c:v>29</c:v>
                </c:pt>
                <c:pt idx="47">
                  <c:v>124</c:v>
                </c:pt>
                <c:pt idx="48">
                  <c:v>130</c:v>
                </c:pt>
                <c:pt idx="49">
                  <c:v>89</c:v>
                </c:pt>
                <c:pt idx="50">
                  <c:v>72</c:v>
                </c:pt>
                <c:pt idx="51">
                  <c:v>112</c:v>
                </c:pt>
                <c:pt idx="52">
                  <c:v>45</c:v>
                </c:pt>
                <c:pt idx="53">
                  <c:v>41</c:v>
                </c:pt>
                <c:pt idx="54">
                  <c:v>87</c:v>
                </c:pt>
                <c:pt idx="55">
                  <c:v>104</c:v>
                </c:pt>
                <c:pt idx="56">
                  <c:v>98</c:v>
                </c:pt>
                <c:pt idx="57">
                  <c:v>82</c:v>
                </c:pt>
                <c:pt idx="58">
                  <c:v>79</c:v>
                </c:pt>
                <c:pt idx="59">
                  <c:v>47</c:v>
                </c:pt>
                <c:pt idx="60">
                  <c:v>21</c:v>
                </c:pt>
                <c:pt idx="61">
                  <c:v>71</c:v>
                </c:pt>
                <c:pt idx="62">
                  <c:v>99</c:v>
                </c:pt>
                <c:pt idx="63">
                  <c:v>70</c:v>
                </c:pt>
                <c:pt idx="64">
                  <c:v>80</c:v>
                </c:pt>
                <c:pt idx="65">
                  <c:v>72</c:v>
                </c:pt>
                <c:pt idx="66">
                  <c:v>23</c:v>
                </c:pt>
                <c:pt idx="67">
                  <c:v>10</c:v>
                </c:pt>
                <c:pt idx="68">
                  <c:v>67</c:v>
                </c:pt>
                <c:pt idx="69">
                  <c:v>76</c:v>
                </c:pt>
                <c:pt idx="70">
                  <c:v>54</c:v>
                </c:pt>
                <c:pt idx="71">
                  <c:v>51</c:v>
                </c:pt>
                <c:pt idx="72">
                  <c:v>48</c:v>
                </c:pt>
                <c:pt idx="73">
                  <c:v>26</c:v>
                </c:pt>
                <c:pt idx="74">
                  <c:v>19</c:v>
                </c:pt>
                <c:pt idx="75">
                  <c:v>46</c:v>
                </c:pt>
                <c:pt idx="76">
                  <c:v>54</c:v>
                </c:pt>
                <c:pt idx="77">
                  <c:v>41</c:v>
                </c:pt>
                <c:pt idx="78">
                  <c:v>31</c:v>
                </c:pt>
                <c:pt idx="79">
                  <c:v>23</c:v>
                </c:pt>
                <c:pt idx="80">
                  <c:v>12</c:v>
                </c:pt>
                <c:pt idx="81">
                  <c:v>10</c:v>
                </c:pt>
                <c:pt idx="82">
                  <c:v>40</c:v>
                </c:pt>
                <c:pt idx="83">
                  <c:v>20</c:v>
                </c:pt>
                <c:pt idx="84">
                  <c:v>24</c:v>
                </c:pt>
                <c:pt idx="85">
                  <c:v>17</c:v>
                </c:pt>
                <c:pt idx="86">
                  <c:v>16</c:v>
                </c:pt>
                <c:pt idx="87">
                  <c:v>9</c:v>
                </c:pt>
                <c:pt idx="88">
                  <c:v>7</c:v>
                </c:pt>
                <c:pt idx="89">
                  <c:v>19</c:v>
                </c:pt>
                <c:pt idx="90">
                  <c:v>18</c:v>
                </c:pt>
                <c:pt idx="91">
                  <c:v>11</c:v>
                </c:pt>
                <c:pt idx="92">
                  <c:v>18</c:v>
                </c:pt>
                <c:pt idx="93">
                  <c:v>12</c:v>
                </c:pt>
                <c:pt idx="94">
                  <c:v>5</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58</c:v>
                </c:pt>
                <c:pt idx="1">
                  <c:v>44259</c:v>
                </c:pt>
                <c:pt idx="2">
                  <c:v>44260</c:v>
                </c:pt>
                <c:pt idx="3">
                  <c:v>44261</c:v>
                </c:pt>
                <c:pt idx="4">
                  <c:v>44262</c:v>
                </c:pt>
                <c:pt idx="5">
                  <c:v>44263</c:v>
                </c:pt>
                <c:pt idx="6">
                  <c:v>44264</c:v>
                </c:pt>
                <c:pt idx="7">
                  <c:v>44265</c:v>
                </c:pt>
                <c:pt idx="8">
                  <c:v>44266</c:v>
                </c:pt>
                <c:pt idx="9">
                  <c:v>44267</c:v>
                </c:pt>
                <c:pt idx="10">
                  <c:v>44268</c:v>
                </c:pt>
                <c:pt idx="11">
                  <c:v>44269</c:v>
                </c:pt>
                <c:pt idx="12">
                  <c:v>44270</c:v>
                </c:pt>
                <c:pt idx="13">
                  <c:v>44271</c:v>
                </c:pt>
                <c:pt idx="14">
                  <c:v>44272</c:v>
                </c:pt>
                <c:pt idx="15">
                  <c:v>44273</c:v>
                </c:pt>
                <c:pt idx="16">
                  <c:v>44274</c:v>
                </c:pt>
                <c:pt idx="17">
                  <c:v>44275</c:v>
                </c:pt>
                <c:pt idx="18">
                  <c:v>44276</c:v>
                </c:pt>
                <c:pt idx="19">
                  <c:v>44277</c:v>
                </c:pt>
                <c:pt idx="20">
                  <c:v>44278</c:v>
                </c:pt>
                <c:pt idx="21">
                  <c:v>44279</c:v>
                </c:pt>
                <c:pt idx="22">
                  <c:v>44280</c:v>
                </c:pt>
                <c:pt idx="23">
                  <c:v>44281</c:v>
                </c:pt>
                <c:pt idx="24">
                  <c:v>44282</c:v>
                </c:pt>
                <c:pt idx="25">
                  <c:v>44283</c:v>
                </c:pt>
                <c:pt idx="26">
                  <c:v>44284</c:v>
                </c:pt>
                <c:pt idx="27">
                  <c:v>44285</c:v>
                </c:pt>
                <c:pt idx="28">
                  <c:v>44286</c:v>
                </c:pt>
                <c:pt idx="29">
                  <c:v>44287</c:v>
                </c:pt>
                <c:pt idx="30">
                  <c:v>44288</c:v>
                </c:pt>
                <c:pt idx="31">
                  <c:v>44289</c:v>
                </c:pt>
                <c:pt idx="32">
                  <c:v>44290</c:v>
                </c:pt>
                <c:pt idx="33">
                  <c:v>44291</c:v>
                </c:pt>
                <c:pt idx="34">
                  <c:v>44292</c:v>
                </c:pt>
                <c:pt idx="35">
                  <c:v>44293</c:v>
                </c:pt>
                <c:pt idx="36">
                  <c:v>44294</c:v>
                </c:pt>
                <c:pt idx="37">
                  <c:v>44295</c:v>
                </c:pt>
                <c:pt idx="38">
                  <c:v>44296</c:v>
                </c:pt>
                <c:pt idx="39">
                  <c:v>44297</c:v>
                </c:pt>
                <c:pt idx="40">
                  <c:v>44298</c:v>
                </c:pt>
                <c:pt idx="41">
                  <c:v>44299</c:v>
                </c:pt>
                <c:pt idx="42">
                  <c:v>44300</c:v>
                </c:pt>
                <c:pt idx="43">
                  <c:v>44301</c:v>
                </c:pt>
                <c:pt idx="44">
                  <c:v>44302</c:v>
                </c:pt>
                <c:pt idx="45">
                  <c:v>44303</c:v>
                </c:pt>
                <c:pt idx="46">
                  <c:v>44304</c:v>
                </c:pt>
                <c:pt idx="47">
                  <c:v>44305</c:v>
                </c:pt>
                <c:pt idx="48">
                  <c:v>44306</c:v>
                </c:pt>
                <c:pt idx="49">
                  <c:v>44307</c:v>
                </c:pt>
                <c:pt idx="50">
                  <c:v>44308</c:v>
                </c:pt>
                <c:pt idx="51">
                  <c:v>44309</c:v>
                </c:pt>
                <c:pt idx="52">
                  <c:v>44310</c:v>
                </c:pt>
                <c:pt idx="53">
                  <c:v>44311</c:v>
                </c:pt>
                <c:pt idx="54">
                  <c:v>44312</c:v>
                </c:pt>
                <c:pt idx="55">
                  <c:v>44313</c:v>
                </c:pt>
                <c:pt idx="56">
                  <c:v>44314</c:v>
                </c:pt>
                <c:pt idx="57">
                  <c:v>44315</c:v>
                </c:pt>
                <c:pt idx="58">
                  <c:v>44316</c:v>
                </c:pt>
                <c:pt idx="59">
                  <c:v>44317</c:v>
                </c:pt>
                <c:pt idx="60">
                  <c:v>44318</c:v>
                </c:pt>
                <c:pt idx="61">
                  <c:v>44319</c:v>
                </c:pt>
                <c:pt idx="62">
                  <c:v>44320</c:v>
                </c:pt>
                <c:pt idx="63">
                  <c:v>44321</c:v>
                </c:pt>
                <c:pt idx="64">
                  <c:v>44322</c:v>
                </c:pt>
                <c:pt idx="65">
                  <c:v>44323</c:v>
                </c:pt>
                <c:pt idx="66">
                  <c:v>44324</c:v>
                </c:pt>
                <c:pt idx="67">
                  <c:v>44325</c:v>
                </c:pt>
                <c:pt idx="68">
                  <c:v>44326</c:v>
                </c:pt>
                <c:pt idx="69">
                  <c:v>44327</c:v>
                </c:pt>
                <c:pt idx="70">
                  <c:v>44328</c:v>
                </c:pt>
                <c:pt idx="71">
                  <c:v>44329</c:v>
                </c:pt>
                <c:pt idx="72">
                  <c:v>44330</c:v>
                </c:pt>
                <c:pt idx="73">
                  <c:v>44331</c:v>
                </c:pt>
                <c:pt idx="74">
                  <c:v>44332</c:v>
                </c:pt>
                <c:pt idx="75">
                  <c:v>44333</c:v>
                </c:pt>
                <c:pt idx="76">
                  <c:v>44334</c:v>
                </c:pt>
                <c:pt idx="77">
                  <c:v>44335</c:v>
                </c:pt>
                <c:pt idx="78">
                  <c:v>44336</c:v>
                </c:pt>
                <c:pt idx="79">
                  <c:v>44337</c:v>
                </c:pt>
                <c:pt idx="80">
                  <c:v>44338</c:v>
                </c:pt>
                <c:pt idx="81">
                  <c:v>44339</c:v>
                </c:pt>
                <c:pt idx="82">
                  <c:v>44340</c:v>
                </c:pt>
                <c:pt idx="83">
                  <c:v>44341</c:v>
                </c:pt>
                <c:pt idx="84">
                  <c:v>44342</c:v>
                </c:pt>
                <c:pt idx="85">
                  <c:v>44343</c:v>
                </c:pt>
                <c:pt idx="86">
                  <c:v>44344</c:v>
                </c:pt>
                <c:pt idx="87">
                  <c:v>44345</c:v>
                </c:pt>
                <c:pt idx="88">
                  <c:v>44346</c:v>
                </c:pt>
                <c:pt idx="89">
                  <c:v>44347</c:v>
                </c:pt>
                <c:pt idx="90">
                  <c:v>44348</c:v>
                </c:pt>
                <c:pt idx="91">
                  <c:v>44349</c:v>
                </c:pt>
                <c:pt idx="92">
                  <c:v>44350</c:v>
                </c:pt>
                <c:pt idx="93">
                  <c:v>44351</c:v>
                </c:pt>
                <c:pt idx="94">
                  <c:v>44352</c:v>
                </c:pt>
              </c:numCache>
            </c:numRef>
          </c:cat>
          <c:val>
            <c:numRef>
              <c:f>Sheet1!$B$2:$B$96</c:f>
              <c:numCache>
                <c:formatCode>General</c:formatCode>
                <c:ptCount val="95"/>
                <c:pt idx="0">
                  <c:v>948</c:v>
                </c:pt>
                <c:pt idx="1">
                  <c:v>924</c:v>
                </c:pt>
                <c:pt idx="2">
                  <c:v>830</c:v>
                </c:pt>
                <c:pt idx="3">
                  <c:v>634</c:v>
                </c:pt>
                <c:pt idx="4">
                  <c:v>263</c:v>
                </c:pt>
                <c:pt idx="5">
                  <c:v>664</c:v>
                </c:pt>
                <c:pt idx="6">
                  <c:v>955</c:v>
                </c:pt>
                <c:pt idx="7">
                  <c:v>831</c:v>
                </c:pt>
                <c:pt idx="8">
                  <c:v>585</c:v>
                </c:pt>
                <c:pt idx="9">
                  <c:v>779</c:v>
                </c:pt>
                <c:pt idx="10">
                  <c:v>439</c:v>
                </c:pt>
                <c:pt idx="11">
                  <c:v>191</c:v>
                </c:pt>
                <c:pt idx="12">
                  <c:v>589</c:v>
                </c:pt>
                <c:pt idx="13">
                  <c:v>801</c:v>
                </c:pt>
                <c:pt idx="14">
                  <c:v>615</c:v>
                </c:pt>
                <c:pt idx="15">
                  <c:v>566</c:v>
                </c:pt>
                <c:pt idx="16">
                  <c:v>536</c:v>
                </c:pt>
                <c:pt idx="17">
                  <c:v>315</c:v>
                </c:pt>
                <c:pt idx="18">
                  <c:v>131</c:v>
                </c:pt>
                <c:pt idx="19">
                  <c:v>516</c:v>
                </c:pt>
                <c:pt idx="20">
                  <c:v>584</c:v>
                </c:pt>
                <c:pt idx="21">
                  <c:v>433</c:v>
                </c:pt>
                <c:pt idx="22">
                  <c:v>433</c:v>
                </c:pt>
                <c:pt idx="23">
                  <c:v>501</c:v>
                </c:pt>
                <c:pt idx="24">
                  <c:v>273</c:v>
                </c:pt>
                <c:pt idx="25">
                  <c:v>112</c:v>
                </c:pt>
                <c:pt idx="26">
                  <c:v>397</c:v>
                </c:pt>
                <c:pt idx="27">
                  <c:v>480</c:v>
                </c:pt>
                <c:pt idx="28">
                  <c:v>389</c:v>
                </c:pt>
                <c:pt idx="29">
                  <c:v>307</c:v>
                </c:pt>
                <c:pt idx="30">
                  <c:v>227</c:v>
                </c:pt>
                <c:pt idx="31">
                  <c:v>113</c:v>
                </c:pt>
                <c:pt idx="32">
                  <c:v>127</c:v>
                </c:pt>
                <c:pt idx="33">
                  <c:v>99</c:v>
                </c:pt>
                <c:pt idx="34">
                  <c:v>336</c:v>
                </c:pt>
                <c:pt idx="35">
                  <c:v>370</c:v>
                </c:pt>
                <c:pt idx="36">
                  <c:v>268</c:v>
                </c:pt>
                <c:pt idx="37">
                  <c:v>259</c:v>
                </c:pt>
                <c:pt idx="38">
                  <c:v>132</c:v>
                </c:pt>
                <c:pt idx="39">
                  <c:v>65</c:v>
                </c:pt>
                <c:pt idx="40">
                  <c:v>326</c:v>
                </c:pt>
                <c:pt idx="41">
                  <c:v>387</c:v>
                </c:pt>
                <c:pt idx="42">
                  <c:v>252</c:v>
                </c:pt>
                <c:pt idx="43">
                  <c:v>236</c:v>
                </c:pt>
                <c:pt idx="44">
                  <c:v>214</c:v>
                </c:pt>
                <c:pt idx="45">
                  <c:v>113</c:v>
                </c:pt>
                <c:pt idx="46">
                  <c:v>63</c:v>
                </c:pt>
                <c:pt idx="47">
                  <c:v>280</c:v>
                </c:pt>
                <c:pt idx="48">
                  <c:v>293</c:v>
                </c:pt>
                <c:pt idx="49">
                  <c:v>218</c:v>
                </c:pt>
                <c:pt idx="50">
                  <c:v>215</c:v>
                </c:pt>
                <c:pt idx="51">
                  <c:v>197</c:v>
                </c:pt>
                <c:pt idx="52">
                  <c:v>115</c:v>
                </c:pt>
                <c:pt idx="53">
                  <c:v>81</c:v>
                </c:pt>
                <c:pt idx="54">
                  <c:v>208</c:v>
                </c:pt>
                <c:pt idx="55">
                  <c:v>289</c:v>
                </c:pt>
                <c:pt idx="56">
                  <c:v>188</c:v>
                </c:pt>
                <c:pt idx="57">
                  <c:v>154</c:v>
                </c:pt>
                <c:pt idx="58">
                  <c:v>175</c:v>
                </c:pt>
                <c:pt idx="59">
                  <c:v>79</c:v>
                </c:pt>
                <c:pt idx="60">
                  <c:v>47</c:v>
                </c:pt>
                <c:pt idx="61">
                  <c:v>213</c:v>
                </c:pt>
                <c:pt idx="62">
                  <c:v>207</c:v>
                </c:pt>
                <c:pt idx="63">
                  <c:v>147</c:v>
                </c:pt>
                <c:pt idx="64">
                  <c:v>128</c:v>
                </c:pt>
                <c:pt idx="65">
                  <c:v>138</c:v>
                </c:pt>
                <c:pt idx="66">
                  <c:v>65</c:v>
                </c:pt>
                <c:pt idx="67">
                  <c:v>40</c:v>
                </c:pt>
                <c:pt idx="68">
                  <c:v>128</c:v>
                </c:pt>
                <c:pt idx="69">
                  <c:v>129</c:v>
                </c:pt>
                <c:pt idx="70">
                  <c:v>93</c:v>
                </c:pt>
                <c:pt idx="71">
                  <c:v>85</c:v>
                </c:pt>
                <c:pt idx="72">
                  <c:v>75</c:v>
                </c:pt>
                <c:pt idx="73">
                  <c:v>65</c:v>
                </c:pt>
                <c:pt idx="74">
                  <c:v>27</c:v>
                </c:pt>
                <c:pt idx="75">
                  <c:v>135</c:v>
                </c:pt>
                <c:pt idx="76">
                  <c:v>129</c:v>
                </c:pt>
                <c:pt idx="77">
                  <c:v>70</c:v>
                </c:pt>
                <c:pt idx="78">
                  <c:v>56</c:v>
                </c:pt>
                <c:pt idx="79">
                  <c:v>57</c:v>
                </c:pt>
                <c:pt idx="80">
                  <c:v>33</c:v>
                </c:pt>
                <c:pt idx="81">
                  <c:v>28</c:v>
                </c:pt>
                <c:pt idx="82">
                  <c:v>89</c:v>
                </c:pt>
                <c:pt idx="83">
                  <c:v>81</c:v>
                </c:pt>
                <c:pt idx="84">
                  <c:v>47</c:v>
                </c:pt>
                <c:pt idx="85">
                  <c:v>44</c:v>
                </c:pt>
                <c:pt idx="86">
                  <c:v>47</c:v>
                </c:pt>
                <c:pt idx="87">
                  <c:v>29</c:v>
                </c:pt>
                <c:pt idx="88">
                  <c:v>14</c:v>
                </c:pt>
                <c:pt idx="89">
                  <c:v>64</c:v>
                </c:pt>
                <c:pt idx="90">
                  <c:v>55</c:v>
                </c:pt>
                <c:pt idx="91">
                  <c:v>41</c:v>
                </c:pt>
                <c:pt idx="92">
                  <c:v>36</c:v>
                </c:pt>
                <c:pt idx="93">
                  <c:v>28</c:v>
                </c:pt>
                <c:pt idx="94">
                  <c:v>8</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16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58</c:v>
                </c:pt>
                <c:pt idx="1">
                  <c:v>44259</c:v>
                </c:pt>
                <c:pt idx="2">
                  <c:v>44260</c:v>
                </c:pt>
                <c:pt idx="3">
                  <c:v>44261</c:v>
                </c:pt>
                <c:pt idx="4">
                  <c:v>44262</c:v>
                </c:pt>
                <c:pt idx="5">
                  <c:v>44263</c:v>
                </c:pt>
                <c:pt idx="6">
                  <c:v>44264</c:v>
                </c:pt>
                <c:pt idx="7">
                  <c:v>44265</c:v>
                </c:pt>
                <c:pt idx="8">
                  <c:v>44266</c:v>
                </c:pt>
                <c:pt idx="9">
                  <c:v>44267</c:v>
                </c:pt>
                <c:pt idx="10">
                  <c:v>44268</c:v>
                </c:pt>
                <c:pt idx="11">
                  <c:v>44269</c:v>
                </c:pt>
                <c:pt idx="12">
                  <c:v>44270</c:v>
                </c:pt>
                <c:pt idx="13">
                  <c:v>44271</c:v>
                </c:pt>
                <c:pt idx="14">
                  <c:v>44272</c:v>
                </c:pt>
                <c:pt idx="15">
                  <c:v>44273</c:v>
                </c:pt>
                <c:pt idx="16">
                  <c:v>44274</c:v>
                </c:pt>
                <c:pt idx="17">
                  <c:v>44275</c:v>
                </c:pt>
                <c:pt idx="18">
                  <c:v>44276</c:v>
                </c:pt>
                <c:pt idx="19">
                  <c:v>44277</c:v>
                </c:pt>
                <c:pt idx="20">
                  <c:v>44278</c:v>
                </c:pt>
                <c:pt idx="21">
                  <c:v>44279</c:v>
                </c:pt>
                <c:pt idx="22">
                  <c:v>44280</c:v>
                </c:pt>
                <c:pt idx="23">
                  <c:v>44281</c:v>
                </c:pt>
                <c:pt idx="24">
                  <c:v>44282</c:v>
                </c:pt>
                <c:pt idx="25">
                  <c:v>44283</c:v>
                </c:pt>
                <c:pt idx="26">
                  <c:v>44284</c:v>
                </c:pt>
                <c:pt idx="27">
                  <c:v>44285</c:v>
                </c:pt>
                <c:pt idx="28">
                  <c:v>44286</c:v>
                </c:pt>
                <c:pt idx="29">
                  <c:v>44287</c:v>
                </c:pt>
                <c:pt idx="30">
                  <c:v>44288</c:v>
                </c:pt>
                <c:pt idx="31">
                  <c:v>44289</c:v>
                </c:pt>
                <c:pt idx="32">
                  <c:v>44290</c:v>
                </c:pt>
                <c:pt idx="33">
                  <c:v>44291</c:v>
                </c:pt>
                <c:pt idx="34">
                  <c:v>44292</c:v>
                </c:pt>
                <c:pt idx="35">
                  <c:v>44293</c:v>
                </c:pt>
                <c:pt idx="36">
                  <c:v>44294</c:v>
                </c:pt>
                <c:pt idx="37">
                  <c:v>44295</c:v>
                </c:pt>
                <c:pt idx="38">
                  <c:v>44296</c:v>
                </c:pt>
                <c:pt idx="39">
                  <c:v>44297</c:v>
                </c:pt>
                <c:pt idx="40">
                  <c:v>44298</c:v>
                </c:pt>
                <c:pt idx="41">
                  <c:v>44299</c:v>
                </c:pt>
                <c:pt idx="42">
                  <c:v>44300</c:v>
                </c:pt>
                <c:pt idx="43">
                  <c:v>44301</c:v>
                </c:pt>
                <c:pt idx="44">
                  <c:v>44302</c:v>
                </c:pt>
                <c:pt idx="45">
                  <c:v>44303</c:v>
                </c:pt>
                <c:pt idx="46">
                  <c:v>44304</c:v>
                </c:pt>
                <c:pt idx="47">
                  <c:v>44305</c:v>
                </c:pt>
                <c:pt idx="48">
                  <c:v>44306</c:v>
                </c:pt>
                <c:pt idx="49">
                  <c:v>44307</c:v>
                </c:pt>
                <c:pt idx="50">
                  <c:v>44308</c:v>
                </c:pt>
                <c:pt idx="51">
                  <c:v>44309</c:v>
                </c:pt>
                <c:pt idx="52">
                  <c:v>44310</c:v>
                </c:pt>
                <c:pt idx="53">
                  <c:v>44311</c:v>
                </c:pt>
                <c:pt idx="54">
                  <c:v>44312</c:v>
                </c:pt>
                <c:pt idx="55">
                  <c:v>44313</c:v>
                </c:pt>
                <c:pt idx="56">
                  <c:v>44314</c:v>
                </c:pt>
                <c:pt idx="57">
                  <c:v>44315</c:v>
                </c:pt>
                <c:pt idx="58">
                  <c:v>44316</c:v>
                </c:pt>
                <c:pt idx="59">
                  <c:v>44317</c:v>
                </c:pt>
                <c:pt idx="60">
                  <c:v>44318</c:v>
                </c:pt>
                <c:pt idx="61">
                  <c:v>44319</c:v>
                </c:pt>
                <c:pt idx="62">
                  <c:v>44320</c:v>
                </c:pt>
                <c:pt idx="63">
                  <c:v>44321</c:v>
                </c:pt>
                <c:pt idx="64">
                  <c:v>44322</c:v>
                </c:pt>
                <c:pt idx="65">
                  <c:v>44323</c:v>
                </c:pt>
                <c:pt idx="66">
                  <c:v>44324</c:v>
                </c:pt>
                <c:pt idx="67">
                  <c:v>44325</c:v>
                </c:pt>
                <c:pt idx="68">
                  <c:v>44326</c:v>
                </c:pt>
                <c:pt idx="69">
                  <c:v>44327</c:v>
                </c:pt>
                <c:pt idx="70">
                  <c:v>44328</c:v>
                </c:pt>
                <c:pt idx="71">
                  <c:v>44329</c:v>
                </c:pt>
                <c:pt idx="72">
                  <c:v>44330</c:v>
                </c:pt>
                <c:pt idx="73">
                  <c:v>44331</c:v>
                </c:pt>
                <c:pt idx="74">
                  <c:v>44332</c:v>
                </c:pt>
                <c:pt idx="75">
                  <c:v>44333</c:v>
                </c:pt>
                <c:pt idx="76">
                  <c:v>44334</c:v>
                </c:pt>
                <c:pt idx="77">
                  <c:v>44335</c:v>
                </c:pt>
                <c:pt idx="78">
                  <c:v>44336</c:v>
                </c:pt>
                <c:pt idx="79">
                  <c:v>44337</c:v>
                </c:pt>
                <c:pt idx="80">
                  <c:v>44338</c:v>
                </c:pt>
                <c:pt idx="81">
                  <c:v>44339</c:v>
                </c:pt>
                <c:pt idx="82">
                  <c:v>44340</c:v>
                </c:pt>
                <c:pt idx="83">
                  <c:v>44341</c:v>
                </c:pt>
                <c:pt idx="84">
                  <c:v>44342</c:v>
                </c:pt>
                <c:pt idx="85">
                  <c:v>44343</c:v>
                </c:pt>
                <c:pt idx="86">
                  <c:v>44344</c:v>
                </c:pt>
                <c:pt idx="87">
                  <c:v>44345</c:v>
                </c:pt>
                <c:pt idx="88">
                  <c:v>44346</c:v>
                </c:pt>
                <c:pt idx="89">
                  <c:v>44347</c:v>
                </c:pt>
                <c:pt idx="90">
                  <c:v>44348</c:v>
                </c:pt>
                <c:pt idx="91">
                  <c:v>44349</c:v>
                </c:pt>
                <c:pt idx="92">
                  <c:v>44350</c:v>
                </c:pt>
                <c:pt idx="93">
                  <c:v>44351</c:v>
                </c:pt>
                <c:pt idx="94">
                  <c:v>44352</c:v>
                </c:pt>
              </c:numCache>
            </c:numRef>
          </c:cat>
          <c:val>
            <c:numRef>
              <c:f>Sheet1!$B$2:$B$96</c:f>
              <c:numCache>
                <c:formatCode>General</c:formatCode>
                <c:ptCount val="95"/>
                <c:pt idx="0">
                  <c:v>1021</c:v>
                </c:pt>
                <c:pt idx="1">
                  <c:v>991</c:v>
                </c:pt>
                <c:pt idx="2">
                  <c:v>955</c:v>
                </c:pt>
                <c:pt idx="3">
                  <c:v>667</c:v>
                </c:pt>
                <c:pt idx="4">
                  <c:v>332</c:v>
                </c:pt>
                <c:pt idx="5">
                  <c:v>790</c:v>
                </c:pt>
                <c:pt idx="6">
                  <c:v>1248</c:v>
                </c:pt>
                <c:pt idx="7">
                  <c:v>1167</c:v>
                </c:pt>
                <c:pt idx="8">
                  <c:v>824</c:v>
                </c:pt>
                <c:pt idx="9">
                  <c:v>1032</c:v>
                </c:pt>
                <c:pt idx="10">
                  <c:v>526</c:v>
                </c:pt>
                <c:pt idx="11">
                  <c:v>270</c:v>
                </c:pt>
                <c:pt idx="12">
                  <c:v>814</c:v>
                </c:pt>
                <c:pt idx="13">
                  <c:v>1146</c:v>
                </c:pt>
                <c:pt idx="14">
                  <c:v>914</c:v>
                </c:pt>
                <c:pt idx="15">
                  <c:v>761</c:v>
                </c:pt>
                <c:pt idx="16">
                  <c:v>755</c:v>
                </c:pt>
                <c:pt idx="17">
                  <c:v>462</c:v>
                </c:pt>
                <c:pt idx="18">
                  <c:v>215</c:v>
                </c:pt>
                <c:pt idx="19">
                  <c:v>689</c:v>
                </c:pt>
                <c:pt idx="20">
                  <c:v>869</c:v>
                </c:pt>
                <c:pt idx="21">
                  <c:v>609</c:v>
                </c:pt>
                <c:pt idx="22">
                  <c:v>571</c:v>
                </c:pt>
                <c:pt idx="23">
                  <c:v>544</c:v>
                </c:pt>
                <c:pt idx="24">
                  <c:v>352</c:v>
                </c:pt>
                <c:pt idx="25">
                  <c:v>170</c:v>
                </c:pt>
                <c:pt idx="26">
                  <c:v>574</c:v>
                </c:pt>
                <c:pt idx="27">
                  <c:v>654</c:v>
                </c:pt>
                <c:pt idx="28">
                  <c:v>506</c:v>
                </c:pt>
                <c:pt idx="29">
                  <c:v>454</c:v>
                </c:pt>
                <c:pt idx="30">
                  <c:v>309</c:v>
                </c:pt>
                <c:pt idx="31">
                  <c:v>196</c:v>
                </c:pt>
                <c:pt idx="32">
                  <c:v>172</c:v>
                </c:pt>
                <c:pt idx="33">
                  <c:v>106</c:v>
                </c:pt>
                <c:pt idx="34">
                  <c:v>468</c:v>
                </c:pt>
                <c:pt idx="35">
                  <c:v>509</c:v>
                </c:pt>
                <c:pt idx="36">
                  <c:v>368</c:v>
                </c:pt>
                <c:pt idx="37">
                  <c:v>391</c:v>
                </c:pt>
                <c:pt idx="38">
                  <c:v>186</c:v>
                </c:pt>
                <c:pt idx="39">
                  <c:v>94</c:v>
                </c:pt>
                <c:pt idx="40">
                  <c:v>394</c:v>
                </c:pt>
                <c:pt idx="41">
                  <c:v>498</c:v>
                </c:pt>
                <c:pt idx="42">
                  <c:v>314</c:v>
                </c:pt>
                <c:pt idx="43">
                  <c:v>247</c:v>
                </c:pt>
                <c:pt idx="44">
                  <c:v>262</c:v>
                </c:pt>
                <c:pt idx="45">
                  <c:v>143</c:v>
                </c:pt>
                <c:pt idx="46">
                  <c:v>74</c:v>
                </c:pt>
                <c:pt idx="47">
                  <c:v>252</c:v>
                </c:pt>
                <c:pt idx="48">
                  <c:v>289</c:v>
                </c:pt>
                <c:pt idx="49">
                  <c:v>224</c:v>
                </c:pt>
                <c:pt idx="50">
                  <c:v>219</c:v>
                </c:pt>
                <c:pt idx="51">
                  <c:v>238</c:v>
                </c:pt>
                <c:pt idx="52">
                  <c:v>130</c:v>
                </c:pt>
                <c:pt idx="53">
                  <c:v>82</c:v>
                </c:pt>
                <c:pt idx="54">
                  <c:v>223</c:v>
                </c:pt>
                <c:pt idx="55">
                  <c:v>273</c:v>
                </c:pt>
                <c:pt idx="56">
                  <c:v>213</c:v>
                </c:pt>
                <c:pt idx="57">
                  <c:v>180</c:v>
                </c:pt>
                <c:pt idx="58">
                  <c:v>173</c:v>
                </c:pt>
                <c:pt idx="59">
                  <c:v>112</c:v>
                </c:pt>
                <c:pt idx="60">
                  <c:v>33</c:v>
                </c:pt>
                <c:pt idx="61">
                  <c:v>226</c:v>
                </c:pt>
                <c:pt idx="62">
                  <c:v>211</c:v>
                </c:pt>
                <c:pt idx="63">
                  <c:v>151</c:v>
                </c:pt>
                <c:pt idx="64">
                  <c:v>118</c:v>
                </c:pt>
                <c:pt idx="65">
                  <c:v>161</c:v>
                </c:pt>
                <c:pt idx="66">
                  <c:v>64</c:v>
                </c:pt>
                <c:pt idx="67">
                  <c:v>38</c:v>
                </c:pt>
                <c:pt idx="68">
                  <c:v>138</c:v>
                </c:pt>
                <c:pt idx="69">
                  <c:v>130</c:v>
                </c:pt>
                <c:pt idx="70">
                  <c:v>102</c:v>
                </c:pt>
                <c:pt idx="71">
                  <c:v>105</c:v>
                </c:pt>
                <c:pt idx="72">
                  <c:v>96</c:v>
                </c:pt>
                <c:pt idx="73">
                  <c:v>60</c:v>
                </c:pt>
                <c:pt idx="74">
                  <c:v>24</c:v>
                </c:pt>
                <c:pt idx="75">
                  <c:v>112</c:v>
                </c:pt>
                <c:pt idx="76">
                  <c:v>129</c:v>
                </c:pt>
                <c:pt idx="77">
                  <c:v>83</c:v>
                </c:pt>
                <c:pt idx="78">
                  <c:v>52</c:v>
                </c:pt>
                <c:pt idx="79">
                  <c:v>79</c:v>
                </c:pt>
                <c:pt idx="80">
                  <c:v>32</c:v>
                </c:pt>
                <c:pt idx="81">
                  <c:v>18</c:v>
                </c:pt>
                <c:pt idx="82">
                  <c:v>108</c:v>
                </c:pt>
                <c:pt idx="83">
                  <c:v>80</c:v>
                </c:pt>
                <c:pt idx="84">
                  <c:v>57</c:v>
                </c:pt>
                <c:pt idx="85">
                  <c:v>58</c:v>
                </c:pt>
                <c:pt idx="86">
                  <c:v>53</c:v>
                </c:pt>
                <c:pt idx="87">
                  <c:v>21</c:v>
                </c:pt>
                <c:pt idx="88">
                  <c:v>18</c:v>
                </c:pt>
                <c:pt idx="89">
                  <c:v>80</c:v>
                </c:pt>
                <c:pt idx="90">
                  <c:v>74</c:v>
                </c:pt>
                <c:pt idx="91">
                  <c:v>49</c:v>
                </c:pt>
                <c:pt idx="92">
                  <c:v>58</c:v>
                </c:pt>
                <c:pt idx="93">
                  <c:v>50</c:v>
                </c:pt>
                <c:pt idx="94">
                  <c:v>25</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16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rgbClr val="C00000"/>
              </a:solidFill>
              <a:ln>
                <a:noFill/>
              </a:ln>
              <a:effectLst/>
            </c:spPr>
            <c:extLst>
              <c:ext xmlns:c16="http://schemas.microsoft.com/office/drawing/2014/chart" uri="{C3380CC4-5D6E-409C-BE32-E72D297353CC}">
                <c16:uniqueId val="{00000004-2AC3-4C72-B56B-3B66EA6078C6}"/>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dravotnické zařízení</c:v>
                </c:pt>
                <c:pt idx="1">
                  <c:v>Školské zařízení</c:v>
                </c:pt>
                <c:pt idx="2">
                  <c:v>Výrobní závod</c:v>
                </c:pt>
                <c:pt idx="3">
                  <c:v>Pracoviště</c:v>
                </c:pt>
                <c:pt idx="4">
                  <c:v>Setkání známých / příbuzných</c:v>
                </c:pt>
                <c:pt idx="5">
                  <c:v>Zařízení sociálních služeb</c:v>
                </c:pt>
                <c:pt idx="6">
                  <c:v>Hornictví</c:v>
                </c:pt>
                <c:pt idx="7">
                  <c:v>Kancelář, úřad</c:v>
                </c:pt>
                <c:pt idx="8">
                  <c:v>Prodejna, obchod</c:v>
                </c:pt>
                <c:pt idx="9">
                  <c:v>Sportovní</c:v>
                </c:pt>
                <c:pt idx="10">
                  <c:v>Stravovací</c:v>
                </c:pt>
                <c:pt idx="11">
                  <c:v>Ubytovací</c:v>
                </c:pt>
                <c:pt idx="12">
                  <c:v>Církev</c:v>
                </c:pt>
                <c:pt idx="13">
                  <c:v>Dětské domovy</c:v>
                </c:pt>
                <c:pt idx="14">
                  <c:v>Policie</c:v>
                </c:pt>
                <c:pt idx="15">
                  <c:v>Společenská akce / klub</c:v>
                </c:pt>
                <c:pt idx="16">
                  <c:v>Svatba / pohřeb</c:v>
                </c:pt>
                <c:pt idx="17">
                  <c:v>Zájmové aktivity</c:v>
                </c:pt>
                <c:pt idx="18">
                  <c:v>Dětský tábor</c:v>
                </c:pt>
                <c:pt idx="19">
                  <c:v>Divadlo</c:v>
                </c:pt>
                <c:pt idx="20">
                  <c:v>HZS</c:v>
                </c:pt>
                <c:pt idx="21">
                  <c:v>Rodinný výskyt</c:v>
                </c:pt>
                <c:pt idx="22">
                  <c:v>Školení</c:v>
                </c:pt>
                <c:pt idx="23">
                  <c:v>Věznice</c:v>
                </c:pt>
                <c:pt idx="24">
                  <c:v>Ostatní</c:v>
                </c:pt>
                <c:pt idx="25">
                  <c:v>Netýká se žádného zařízení</c:v>
                </c:pt>
              </c:strCache>
            </c:strRef>
          </c:cat>
          <c:val>
            <c:numRef>
              <c:f>List1!$B$2:$B$27</c:f>
              <c:numCache>
                <c:formatCode>General</c:formatCode>
                <c:ptCount val="26"/>
                <c:pt idx="0">
                  <c:v>13</c:v>
                </c:pt>
                <c:pt idx="1">
                  <c:v>12</c:v>
                </c:pt>
                <c:pt idx="2">
                  <c:v>8</c:v>
                </c:pt>
                <c:pt idx="3">
                  <c:v>6</c:v>
                </c:pt>
                <c:pt idx="4">
                  <c:v>6</c:v>
                </c:pt>
                <c:pt idx="5">
                  <c:v>6</c:v>
                </c:pt>
                <c:pt idx="6">
                  <c:v>3</c:v>
                </c:pt>
                <c:pt idx="7">
                  <c:v>2</c:v>
                </c:pt>
                <c:pt idx="8">
                  <c:v>2</c:v>
                </c:pt>
                <c:pt idx="9">
                  <c:v>2</c:v>
                </c:pt>
                <c:pt idx="10">
                  <c:v>2</c:v>
                </c:pt>
                <c:pt idx="11">
                  <c:v>2</c:v>
                </c:pt>
                <c:pt idx="12">
                  <c:v>1</c:v>
                </c:pt>
                <c:pt idx="13">
                  <c:v>1</c:v>
                </c:pt>
                <c:pt idx="14">
                  <c:v>1</c:v>
                </c:pt>
                <c:pt idx="15">
                  <c:v>1</c:v>
                </c:pt>
                <c:pt idx="16">
                  <c:v>1</c:v>
                </c:pt>
                <c:pt idx="17">
                  <c:v>1</c:v>
                </c:pt>
                <c:pt idx="18">
                  <c:v>0</c:v>
                </c:pt>
                <c:pt idx="19">
                  <c:v>0</c:v>
                </c:pt>
                <c:pt idx="20">
                  <c:v>0</c:v>
                </c:pt>
                <c:pt idx="21">
                  <c:v>0</c:v>
                </c:pt>
                <c:pt idx="22">
                  <c:v>0</c:v>
                </c:pt>
                <c:pt idx="23">
                  <c:v>0</c:v>
                </c:pt>
                <c:pt idx="24">
                  <c:v>2</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2-1E53-42F2-8EE0-2756C7045EAC}"/>
              </c:ext>
            </c:extLst>
          </c:dPt>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dravotnické zařízení</c:v>
                </c:pt>
                <c:pt idx="1">
                  <c:v>Zařízení sociálních služeb</c:v>
                </c:pt>
                <c:pt idx="2">
                  <c:v>Školské zařízení</c:v>
                </c:pt>
                <c:pt idx="3">
                  <c:v>Výrobní závod</c:v>
                </c:pt>
                <c:pt idx="4">
                  <c:v>Sportovní</c:v>
                </c:pt>
                <c:pt idx="5">
                  <c:v>Věznice</c:v>
                </c:pt>
                <c:pt idx="6">
                  <c:v>Divadlo</c:v>
                </c:pt>
                <c:pt idx="7">
                  <c:v>Zájmové aktivity</c:v>
                </c:pt>
                <c:pt idx="8">
                  <c:v>Pracoviště</c:v>
                </c:pt>
                <c:pt idx="9">
                  <c:v>Kancelář, úřad</c:v>
                </c:pt>
                <c:pt idx="10">
                  <c:v>Společenská akce / klub</c:v>
                </c:pt>
                <c:pt idx="11">
                  <c:v>Svatba / pohřeb</c:v>
                </c:pt>
                <c:pt idx="12">
                  <c:v>Hornictví</c:v>
                </c:pt>
                <c:pt idx="13">
                  <c:v>Setkání známých / příbuzných</c:v>
                </c:pt>
                <c:pt idx="14">
                  <c:v>HZS</c:v>
                </c:pt>
                <c:pt idx="15">
                  <c:v>Rodinný výskyt</c:v>
                </c:pt>
                <c:pt idx="16">
                  <c:v>Prodejna, obchod</c:v>
                </c:pt>
                <c:pt idx="17">
                  <c:v>Školení</c:v>
                </c:pt>
                <c:pt idx="18">
                  <c:v>Policie</c:v>
                </c:pt>
                <c:pt idx="19">
                  <c:v>Dětské domovy</c:v>
                </c:pt>
                <c:pt idx="20">
                  <c:v>Církev</c:v>
                </c:pt>
                <c:pt idx="21">
                  <c:v>Dětský tábor</c:v>
                </c:pt>
                <c:pt idx="22">
                  <c:v>Stravovací</c:v>
                </c:pt>
                <c:pt idx="23">
                  <c:v>Ubytovací</c:v>
                </c:pt>
                <c:pt idx="24">
                  <c:v>Ostatní</c:v>
                </c:pt>
                <c:pt idx="25">
                  <c:v>Netýká se žádného zařízení</c:v>
                </c:pt>
              </c:strCache>
            </c:strRef>
          </c:cat>
          <c:val>
            <c:numRef>
              <c:f>List1!$B$2:$B$27</c:f>
              <c:numCache>
                <c:formatCode>General</c:formatCode>
                <c:ptCount val="26"/>
                <c:pt idx="0">
                  <c:v>5698</c:v>
                </c:pt>
                <c:pt idx="1">
                  <c:v>3154</c:v>
                </c:pt>
                <c:pt idx="2">
                  <c:v>2869</c:v>
                </c:pt>
                <c:pt idx="3">
                  <c:v>1252</c:v>
                </c:pt>
                <c:pt idx="4">
                  <c:v>680</c:v>
                </c:pt>
                <c:pt idx="5">
                  <c:v>406</c:v>
                </c:pt>
                <c:pt idx="6">
                  <c:v>281</c:v>
                </c:pt>
                <c:pt idx="7">
                  <c:v>194</c:v>
                </c:pt>
                <c:pt idx="8">
                  <c:v>190</c:v>
                </c:pt>
                <c:pt idx="9">
                  <c:v>181</c:v>
                </c:pt>
                <c:pt idx="10">
                  <c:v>176</c:v>
                </c:pt>
                <c:pt idx="11">
                  <c:v>136</c:v>
                </c:pt>
                <c:pt idx="12">
                  <c:v>103</c:v>
                </c:pt>
                <c:pt idx="13">
                  <c:v>63</c:v>
                </c:pt>
                <c:pt idx="14">
                  <c:v>55</c:v>
                </c:pt>
                <c:pt idx="15">
                  <c:v>47</c:v>
                </c:pt>
                <c:pt idx="16">
                  <c:v>33</c:v>
                </c:pt>
                <c:pt idx="17">
                  <c:v>31</c:v>
                </c:pt>
                <c:pt idx="18">
                  <c:v>25</c:v>
                </c:pt>
                <c:pt idx="19">
                  <c:v>17</c:v>
                </c:pt>
                <c:pt idx="20">
                  <c:v>14</c:v>
                </c:pt>
                <c:pt idx="21">
                  <c:v>10</c:v>
                </c:pt>
                <c:pt idx="22">
                  <c:v>0</c:v>
                </c:pt>
                <c:pt idx="23">
                  <c:v>0</c:v>
                </c:pt>
                <c:pt idx="24">
                  <c:v>8</c:v>
                </c:pt>
                <c:pt idx="25">
                  <c:v>13</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Sportovní</c:v>
                </c:pt>
                <c:pt idx="4">
                  <c:v>Výrobní závod</c:v>
                </c:pt>
                <c:pt idx="5">
                  <c:v>Kancelář, úřad</c:v>
                </c:pt>
                <c:pt idx="6">
                  <c:v>Pracoviště</c:v>
                </c:pt>
                <c:pt idx="7">
                  <c:v>Společenská akce / klub</c:v>
                </c:pt>
                <c:pt idx="8">
                  <c:v>Svatba / pohřeb</c:v>
                </c:pt>
                <c:pt idx="9">
                  <c:v>Zájmové aktivity</c:v>
                </c:pt>
                <c:pt idx="10">
                  <c:v>Divadlo</c:v>
                </c:pt>
                <c:pt idx="11">
                  <c:v>Věznice</c:v>
                </c:pt>
                <c:pt idx="12">
                  <c:v>Setkání známých / příbuzných</c:v>
                </c:pt>
                <c:pt idx="13">
                  <c:v>Dětské domovy</c:v>
                </c:pt>
                <c:pt idx="14">
                  <c:v>Rodinný výskyt</c:v>
                </c:pt>
                <c:pt idx="15">
                  <c:v>Školení</c:v>
                </c:pt>
                <c:pt idx="16">
                  <c:v>Policie</c:v>
                </c:pt>
                <c:pt idx="17">
                  <c:v>HZS</c:v>
                </c:pt>
                <c:pt idx="18">
                  <c:v>Prodejna, obchod</c:v>
                </c:pt>
                <c:pt idx="19">
                  <c:v>Církev</c:v>
                </c:pt>
                <c:pt idx="20">
                  <c:v>Dětský tábor</c:v>
                </c:pt>
                <c:pt idx="21">
                  <c:v>Hornictví</c:v>
                </c:pt>
                <c:pt idx="22">
                  <c:v>Stravovací</c:v>
                </c:pt>
                <c:pt idx="23">
                  <c:v>Ubytovací</c:v>
                </c:pt>
                <c:pt idx="24">
                  <c:v>Ostatní</c:v>
                </c:pt>
                <c:pt idx="25">
                  <c:v>Netýká se žádného zařízení</c:v>
                </c:pt>
              </c:strCache>
            </c:strRef>
          </c:cat>
          <c:val>
            <c:numRef>
              <c:f>List1!$B$2:$B$27</c:f>
              <c:numCache>
                <c:formatCode>General</c:formatCode>
                <c:ptCount val="26"/>
                <c:pt idx="0">
                  <c:v>573</c:v>
                </c:pt>
                <c:pt idx="1">
                  <c:v>105</c:v>
                </c:pt>
                <c:pt idx="2">
                  <c:v>102</c:v>
                </c:pt>
                <c:pt idx="3">
                  <c:v>51</c:v>
                </c:pt>
                <c:pt idx="4">
                  <c:v>39</c:v>
                </c:pt>
                <c:pt idx="5">
                  <c:v>21</c:v>
                </c:pt>
                <c:pt idx="6">
                  <c:v>17</c:v>
                </c:pt>
                <c:pt idx="7">
                  <c:v>14</c:v>
                </c:pt>
                <c:pt idx="8">
                  <c:v>10</c:v>
                </c:pt>
                <c:pt idx="9">
                  <c:v>10</c:v>
                </c:pt>
                <c:pt idx="10">
                  <c:v>8</c:v>
                </c:pt>
                <c:pt idx="11">
                  <c:v>8</c:v>
                </c:pt>
                <c:pt idx="12">
                  <c:v>7</c:v>
                </c:pt>
                <c:pt idx="13">
                  <c:v>5</c:v>
                </c:pt>
                <c:pt idx="14">
                  <c:v>5</c:v>
                </c:pt>
                <c:pt idx="15">
                  <c:v>5</c:v>
                </c:pt>
                <c:pt idx="16">
                  <c:v>4</c:v>
                </c:pt>
                <c:pt idx="17">
                  <c:v>3</c:v>
                </c:pt>
                <c:pt idx="18">
                  <c:v>3</c:v>
                </c:pt>
                <c:pt idx="19">
                  <c:v>1</c:v>
                </c:pt>
                <c:pt idx="20">
                  <c:v>1</c:v>
                </c:pt>
                <c:pt idx="21">
                  <c:v>1</c:v>
                </c:pt>
                <c:pt idx="22">
                  <c:v>0</c:v>
                </c:pt>
                <c:pt idx="23">
                  <c:v>0</c:v>
                </c:pt>
                <c:pt idx="24">
                  <c:v>2</c:v>
                </c:pt>
                <c:pt idx="25">
                  <c:v>1</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37D3-4B2D-87EF-161FD58605A7}"/>
              </c:ext>
            </c:extLst>
          </c:dPt>
          <c:dPt>
            <c:idx val="4"/>
            <c:invertIfNegative val="0"/>
            <c:bubble3D val="0"/>
            <c:spPr>
              <a:solidFill>
                <a:srgbClr val="C00000"/>
              </a:solidFill>
              <a:ln>
                <a:noFill/>
              </a:ln>
              <a:effectLst/>
            </c:spPr>
            <c:extLst>
              <c:ext xmlns:c16="http://schemas.microsoft.com/office/drawing/2014/chart" uri="{C3380CC4-5D6E-409C-BE32-E72D297353CC}">
                <c16:uniqueId val="{00000004-3791-4E30-A090-B02BCBFD0C2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Výrobní závod</c:v>
                </c:pt>
                <c:pt idx="3">
                  <c:v>Věznice</c:v>
                </c:pt>
                <c:pt idx="4">
                  <c:v>Školské zařízení</c:v>
                </c:pt>
                <c:pt idx="5">
                  <c:v>Pracoviště</c:v>
                </c:pt>
                <c:pt idx="6">
                  <c:v>Ubytovací</c:v>
                </c:pt>
                <c:pt idx="7">
                  <c:v>Kancelář, úřad</c:v>
                </c:pt>
                <c:pt idx="8">
                  <c:v>Policie</c:v>
                </c:pt>
                <c:pt idx="9">
                  <c:v>Dětské domovy</c:v>
                </c:pt>
                <c:pt idx="10">
                  <c:v>HZS</c:v>
                </c:pt>
                <c:pt idx="11">
                  <c:v>Sportovní</c:v>
                </c:pt>
                <c:pt idx="12">
                  <c:v>Divadlo</c:v>
                </c:pt>
                <c:pt idx="13">
                  <c:v>Svatba / pohřeb</c:v>
                </c:pt>
                <c:pt idx="14">
                  <c:v>Stravovací</c:v>
                </c:pt>
                <c:pt idx="15">
                  <c:v>Rodinný výskyt</c:v>
                </c:pt>
                <c:pt idx="16">
                  <c:v>Církev</c:v>
                </c:pt>
                <c:pt idx="17">
                  <c:v>Dětský tábor</c:v>
                </c:pt>
                <c:pt idx="18">
                  <c:v>Hornictví</c:v>
                </c:pt>
                <c:pt idx="19">
                  <c:v>Prodejna, obchod</c:v>
                </c:pt>
                <c:pt idx="20">
                  <c:v>Setkání známých / příbuzných</c:v>
                </c:pt>
                <c:pt idx="21">
                  <c:v>Společenská akce / klub</c:v>
                </c:pt>
                <c:pt idx="22">
                  <c:v>Školení</c:v>
                </c:pt>
                <c:pt idx="23">
                  <c:v>Zájmové aktivity</c:v>
                </c:pt>
                <c:pt idx="24">
                  <c:v>Ostatní</c:v>
                </c:pt>
                <c:pt idx="25">
                  <c:v>Netýká se žádného zařízení</c:v>
                </c:pt>
              </c:strCache>
            </c:strRef>
          </c:cat>
          <c:val>
            <c:numRef>
              <c:f>List1!$B$2:$B$27</c:f>
              <c:numCache>
                <c:formatCode>General</c:formatCode>
                <c:ptCount val="26"/>
                <c:pt idx="0">
                  <c:v>14288</c:v>
                </c:pt>
                <c:pt idx="1">
                  <c:v>7372</c:v>
                </c:pt>
                <c:pt idx="2">
                  <c:v>1585</c:v>
                </c:pt>
                <c:pt idx="3">
                  <c:v>950</c:v>
                </c:pt>
                <c:pt idx="4">
                  <c:v>892</c:v>
                </c:pt>
                <c:pt idx="5">
                  <c:v>403</c:v>
                </c:pt>
                <c:pt idx="6">
                  <c:v>111</c:v>
                </c:pt>
                <c:pt idx="7">
                  <c:v>108</c:v>
                </c:pt>
                <c:pt idx="8">
                  <c:v>106</c:v>
                </c:pt>
                <c:pt idx="9">
                  <c:v>96</c:v>
                </c:pt>
                <c:pt idx="10">
                  <c:v>93</c:v>
                </c:pt>
                <c:pt idx="11">
                  <c:v>84</c:v>
                </c:pt>
                <c:pt idx="12">
                  <c:v>52</c:v>
                </c:pt>
                <c:pt idx="13">
                  <c:v>50</c:v>
                </c:pt>
                <c:pt idx="14">
                  <c:v>25</c:v>
                </c:pt>
                <c:pt idx="15">
                  <c:v>11</c:v>
                </c:pt>
                <c:pt idx="16">
                  <c:v>3</c:v>
                </c:pt>
                <c:pt idx="17">
                  <c:v>0</c:v>
                </c:pt>
                <c:pt idx="18">
                  <c:v>0</c:v>
                </c:pt>
                <c:pt idx="19">
                  <c:v>0</c:v>
                </c:pt>
                <c:pt idx="20">
                  <c:v>0</c:v>
                </c:pt>
                <c:pt idx="21">
                  <c:v>0</c:v>
                </c:pt>
                <c:pt idx="22">
                  <c:v>0</c:v>
                </c:pt>
                <c:pt idx="23">
                  <c:v>0</c:v>
                </c:pt>
                <c:pt idx="24">
                  <c:v>1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rgbClr val="C00000"/>
              </a:solidFill>
              <a:ln>
                <a:noFill/>
              </a:ln>
              <a:effectLst/>
            </c:spPr>
            <c:extLst>
              <c:ext xmlns:c16="http://schemas.microsoft.com/office/drawing/2014/chart" uri="{C3380CC4-5D6E-409C-BE32-E72D297353CC}">
                <c16:uniqueId val="{00000000-194D-41C8-8A28-27BD49167857}"/>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Zdravotnické zařízení</c:v>
                </c:pt>
                <c:pt idx="3">
                  <c:v>Výrobní závod</c:v>
                </c:pt>
                <c:pt idx="4">
                  <c:v>Pracoviště</c:v>
                </c:pt>
                <c:pt idx="5">
                  <c:v>Kancelář, úřad</c:v>
                </c:pt>
                <c:pt idx="6">
                  <c:v>Věznice</c:v>
                </c:pt>
                <c:pt idx="7">
                  <c:v>Dětské domovy</c:v>
                </c:pt>
                <c:pt idx="8">
                  <c:v>Policie</c:v>
                </c:pt>
                <c:pt idx="9">
                  <c:v>Sportovní</c:v>
                </c:pt>
                <c:pt idx="10">
                  <c:v>HZS</c:v>
                </c:pt>
                <c:pt idx="11">
                  <c:v>Stravovací</c:v>
                </c:pt>
                <c:pt idx="12">
                  <c:v>Svatba / pohřeb</c:v>
                </c:pt>
                <c:pt idx="13">
                  <c:v>Ubytovací</c:v>
                </c:pt>
                <c:pt idx="14">
                  <c:v>Divadlo</c:v>
                </c:pt>
                <c:pt idx="15">
                  <c:v>Církev</c:v>
                </c:pt>
                <c:pt idx="16">
                  <c:v>Rodinný výskyt</c:v>
                </c:pt>
                <c:pt idx="17">
                  <c:v>Dětský tábor</c:v>
                </c:pt>
                <c:pt idx="18">
                  <c:v>Hornictví</c:v>
                </c:pt>
                <c:pt idx="19">
                  <c:v>Prodejna, obchod</c:v>
                </c:pt>
                <c:pt idx="20">
                  <c:v>Setkání známých / příbuzných</c:v>
                </c:pt>
                <c:pt idx="21">
                  <c:v>Společenská akce / klub</c:v>
                </c:pt>
                <c:pt idx="22">
                  <c:v>Školení</c:v>
                </c:pt>
                <c:pt idx="23">
                  <c:v>Zájmové aktivity</c:v>
                </c:pt>
                <c:pt idx="24">
                  <c:v>Ostatní</c:v>
                </c:pt>
                <c:pt idx="25">
                  <c:v>Netýká se žádného zařízení</c:v>
                </c:pt>
              </c:strCache>
            </c:strRef>
          </c:cat>
          <c:val>
            <c:numRef>
              <c:f>List1!$B$2:$B$27</c:f>
              <c:numCache>
                <c:formatCode>General</c:formatCode>
                <c:ptCount val="26"/>
                <c:pt idx="0">
                  <c:v>309</c:v>
                </c:pt>
                <c:pt idx="1">
                  <c:v>204</c:v>
                </c:pt>
                <c:pt idx="2">
                  <c:v>100</c:v>
                </c:pt>
                <c:pt idx="3">
                  <c:v>28</c:v>
                </c:pt>
                <c:pt idx="4">
                  <c:v>15</c:v>
                </c:pt>
                <c:pt idx="5">
                  <c:v>11</c:v>
                </c:pt>
                <c:pt idx="6">
                  <c:v>10</c:v>
                </c:pt>
                <c:pt idx="7">
                  <c:v>9</c:v>
                </c:pt>
                <c:pt idx="8">
                  <c:v>8</c:v>
                </c:pt>
                <c:pt idx="9">
                  <c:v>6</c:v>
                </c:pt>
                <c:pt idx="10">
                  <c:v>3</c:v>
                </c:pt>
                <c:pt idx="11">
                  <c:v>3</c:v>
                </c:pt>
                <c:pt idx="12">
                  <c:v>3</c:v>
                </c:pt>
                <c:pt idx="13">
                  <c:v>3</c:v>
                </c:pt>
                <c:pt idx="14">
                  <c:v>2</c:v>
                </c:pt>
                <c:pt idx="15">
                  <c:v>1</c:v>
                </c:pt>
                <c:pt idx="16">
                  <c:v>1</c:v>
                </c:pt>
                <c:pt idx="17">
                  <c:v>0</c:v>
                </c:pt>
                <c:pt idx="18">
                  <c:v>0</c:v>
                </c:pt>
                <c:pt idx="19">
                  <c:v>0</c:v>
                </c:pt>
                <c:pt idx="20">
                  <c:v>0</c:v>
                </c:pt>
                <c:pt idx="21">
                  <c:v>0</c:v>
                </c:pt>
                <c:pt idx="22">
                  <c:v>0</c:v>
                </c:pt>
                <c:pt idx="23">
                  <c:v>0</c:v>
                </c:pt>
                <c:pt idx="24">
                  <c:v>1</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Školské zařízení</c:v>
                </c:pt>
                <c:pt idx="3">
                  <c:v>Dětské domovy</c:v>
                </c:pt>
                <c:pt idx="4">
                  <c:v>Výrobní závod</c:v>
                </c:pt>
                <c:pt idx="5">
                  <c:v>Sportovní</c:v>
                </c:pt>
                <c:pt idx="6">
                  <c:v>Pracoviště</c:v>
                </c:pt>
                <c:pt idx="7">
                  <c:v>Věznice</c:v>
                </c:pt>
                <c:pt idx="8">
                  <c:v>HZS</c:v>
                </c:pt>
                <c:pt idx="9">
                  <c:v>Prodejna, obchod</c:v>
                </c:pt>
                <c:pt idx="10">
                  <c:v>Kancelář, úřad</c:v>
                </c:pt>
                <c:pt idx="11">
                  <c:v>Církev</c:v>
                </c:pt>
                <c:pt idx="12">
                  <c:v>Dětský tábor</c:v>
                </c:pt>
                <c:pt idx="13">
                  <c:v>Divadlo</c:v>
                </c:pt>
                <c:pt idx="14">
                  <c:v>Hornictví</c:v>
                </c:pt>
                <c:pt idx="15">
                  <c:v>Policie</c:v>
                </c:pt>
                <c:pt idx="16">
                  <c:v>Rodinný výskyt</c:v>
                </c:pt>
                <c:pt idx="17">
                  <c:v>Setkání známých / příbuzných</c:v>
                </c:pt>
                <c:pt idx="18">
                  <c:v>Společenská akce / klub</c:v>
                </c:pt>
                <c:pt idx="19">
                  <c:v>Stravovací</c:v>
                </c:pt>
                <c:pt idx="20">
                  <c:v>Svatba / pohřeb</c:v>
                </c:pt>
                <c:pt idx="21">
                  <c:v>Školení</c:v>
                </c:pt>
                <c:pt idx="22">
                  <c:v>Ubytovací</c:v>
                </c:pt>
                <c:pt idx="23">
                  <c:v>Zájmové aktivity</c:v>
                </c:pt>
                <c:pt idx="24">
                  <c:v>Ostatní</c:v>
                </c:pt>
                <c:pt idx="25">
                  <c:v>Netýká se žádného zařízení</c:v>
                </c:pt>
              </c:strCache>
            </c:strRef>
          </c:cat>
          <c:val>
            <c:numRef>
              <c:f>List1!$B$2:$B$27</c:f>
              <c:numCache>
                <c:formatCode>General</c:formatCode>
                <c:ptCount val="26"/>
                <c:pt idx="0">
                  <c:v>1755</c:v>
                </c:pt>
                <c:pt idx="1">
                  <c:v>532</c:v>
                </c:pt>
                <c:pt idx="2">
                  <c:v>237</c:v>
                </c:pt>
                <c:pt idx="3">
                  <c:v>59</c:v>
                </c:pt>
                <c:pt idx="4">
                  <c:v>55</c:v>
                </c:pt>
                <c:pt idx="5">
                  <c:v>29</c:v>
                </c:pt>
                <c:pt idx="6">
                  <c:v>26</c:v>
                </c:pt>
                <c:pt idx="7">
                  <c:v>22</c:v>
                </c:pt>
                <c:pt idx="8">
                  <c:v>8</c:v>
                </c:pt>
                <c:pt idx="9">
                  <c:v>6</c:v>
                </c:pt>
                <c:pt idx="10">
                  <c:v>5</c:v>
                </c:pt>
                <c:pt idx="11">
                  <c:v>0</c:v>
                </c:pt>
                <c:pt idx="12">
                  <c:v>0</c:v>
                </c:pt>
                <c:pt idx="13">
                  <c:v>0</c:v>
                </c:pt>
                <c:pt idx="14">
                  <c:v>0</c:v>
                </c:pt>
                <c:pt idx="15">
                  <c:v>0</c:v>
                </c:pt>
                <c:pt idx="16">
                  <c:v>0</c:v>
                </c:pt>
                <c:pt idx="17">
                  <c:v>0</c:v>
                </c:pt>
                <c:pt idx="18">
                  <c:v>0</c:v>
                </c:pt>
                <c:pt idx="19">
                  <c:v>0</c:v>
                </c:pt>
                <c:pt idx="20">
                  <c:v>0</c:v>
                </c:pt>
                <c:pt idx="21">
                  <c:v>0</c:v>
                </c:pt>
                <c:pt idx="22">
                  <c:v>0</c:v>
                </c:pt>
                <c:pt idx="23">
                  <c:v>0</c:v>
                </c:pt>
                <c:pt idx="24">
                  <c:v>12</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8593</cdr:x>
      <cdr:y>0.12266</cdr:y>
    </cdr:from>
    <cdr:to>
      <cdr:x>0.68628</cdr:x>
      <cdr:y>0.59934</cdr:y>
    </cdr:to>
    <cdr:cxnSp macro="">
      <cdr:nvCxnSpPr>
        <cdr:cNvPr id="3" name="Přímá spojnice se šipkou 2">
          <a:extLst xmlns:a="http://schemas.openxmlformats.org/drawingml/2006/main">
            <a:ext uri="{FF2B5EF4-FFF2-40B4-BE49-F238E27FC236}">
              <a16:creationId xmlns:a16="http://schemas.microsoft.com/office/drawing/2014/main" id="{7151A9F4-9E2E-4CDF-88A5-D4FC74B7A17F}"/>
            </a:ext>
          </a:extLst>
        </cdr:cNvPr>
        <cdr:cNvCxnSpPr>
          <a:cxnSpLocks xmlns:a="http://schemas.openxmlformats.org/drawingml/2006/main"/>
        </cdr:cNvCxnSpPr>
      </cdr:nvCxnSpPr>
      <cdr:spPr>
        <a:xfrm xmlns:a="http://schemas.openxmlformats.org/drawingml/2006/main">
          <a:off x="7473256" y="658131"/>
          <a:ext cx="3813" cy="255755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274</cdr:x>
      <cdr:y>0.05161</cdr:y>
    </cdr:from>
    <cdr:to>
      <cdr:x>0.7274</cdr:x>
      <cdr:y>0.66196</cdr:y>
    </cdr:to>
    <cdr:cxnSp macro="">
      <cdr:nvCxnSpPr>
        <cdr:cNvPr id="5" name="Přímá spojnice se šipkou 4">
          <a:extLst xmlns:a="http://schemas.openxmlformats.org/drawingml/2006/main">
            <a:ext uri="{FF2B5EF4-FFF2-40B4-BE49-F238E27FC236}">
              <a16:creationId xmlns:a16="http://schemas.microsoft.com/office/drawing/2014/main" id="{700C6074-A24D-416A-9933-72AF26D17F6C}"/>
            </a:ext>
          </a:extLst>
        </cdr:cNvPr>
        <cdr:cNvCxnSpPr>
          <a:cxnSpLocks xmlns:a="http://schemas.openxmlformats.org/drawingml/2006/main"/>
        </cdr:cNvCxnSpPr>
      </cdr:nvCxnSpPr>
      <cdr:spPr>
        <a:xfrm xmlns:a="http://schemas.openxmlformats.org/drawingml/2006/main">
          <a:off x="7925024" y="276901"/>
          <a:ext cx="0" cy="327474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5328</cdr:x>
      <cdr:y>0.05161</cdr:y>
    </cdr:from>
    <cdr:to>
      <cdr:x>0.75328</cdr:x>
      <cdr:y>0.68317</cdr:y>
    </cdr:to>
    <cdr:cxnSp macro="">
      <cdr:nvCxnSpPr>
        <cdr:cNvPr id="8" name="Přímá spojnice se šipkou 7">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8207035" y="276901"/>
          <a:ext cx="0" cy="338854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8036</cdr:x>
      <cdr:y>0.05161</cdr:y>
    </cdr:from>
    <cdr:to>
      <cdr:x>0.78036</cdr:x>
      <cdr:y>0.71382</cdr:y>
    </cdr:to>
    <cdr:cxnSp macro="">
      <cdr:nvCxnSpPr>
        <cdr:cNvPr id="9" name="Přímá spojnice se šipkou 8">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8502067" y="276901"/>
          <a:ext cx="0" cy="3552991"/>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2552</cdr:x>
      <cdr:y>0.16925</cdr:y>
    </cdr:from>
    <cdr:to>
      <cdr:x>0.82552</cdr:x>
      <cdr:y>0.7502</cdr:y>
    </cdr:to>
    <cdr:cxnSp macro="">
      <cdr:nvCxnSpPr>
        <cdr:cNvPr id="6" name="Přímá spojnice se šipkou 5">
          <a:extLst xmlns:a="http://schemas.openxmlformats.org/drawingml/2006/main">
            <a:ext uri="{FF2B5EF4-FFF2-40B4-BE49-F238E27FC236}">
              <a16:creationId xmlns:a16="http://schemas.microsoft.com/office/drawing/2014/main" id="{0FB3EAD5-F755-4F6A-8329-CA80ABCF6BB6}"/>
            </a:ext>
          </a:extLst>
        </cdr:cNvPr>
        <cdr:cNvCxnSpPr>
          <a:cxnSpLocks xmlns:a="http://schemas.openxmlformats.org/drawingml/2006/main"/>
        </cdr:cNvCxnSpPr>
      </cdr:nvCxnSpPr>
      <cdr:spPr>
        <a:xfrm xmlns:a="http://schemas.openxmlformats.org/drawingml/2006/main">
          <a:off x="8994026" y="908073"/>
          <a:ext cx="0" cy="3116998"/>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06.06.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9</a:t>
            </a:fld>
            <a:endParaRPr lang="cs-CZ"/>
          </a:p>
        </p:txBody>
      </p:sp>
    </p:spTree>
    <p:extLst>
      <p:ext uri="{BB962C8B-B14F-4D97-AF65-F5344CB8AC3E}">
        <p14:creationId xmlns:p14="http://schemas.microsoft.com/office/powerpoint/2010/main" val="42998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40</a:t>
            </a:fld>
            <a:endParaRPr lang="cs-CZ"/>
          </a:p>
        </p:txBody>
      </p:sp>
    </p:spTree>
    <p:extLst>
      <p:ext uri="{BB962C8B-B14F-4D97-AF65-F5344CB8AC3E}">
        <p14:creationId xmlns:p14="http://schemas.microsoft.com/office/powerpoint/2010/main" val="2808456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295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346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504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684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2950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9.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346280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444262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929773867"/>
      </p:ext>
    </p:extLst>
  </p:cSld>
  <p:clrMapOvr>
    <a:masterClrMapping/>
  </p:clrMapOvr>
  <p:extLst>
    <p:ext uri="{DCECCB84-F9BA-43D5-87BE-67443E8EF086}">
      <p15:sldGuideLst xmlns:p15="http://schemas.microsoft.com/office/powerpoint/2012/main">
        <p15:guide id="1" orient="horz" pos="411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244581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06.06.2021</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296456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9" r:id="rId3"/>
    <p:sldLayoutId id="2147483657" r:id="rId4"/>
    <p:sldLayoutId id="2147483662" r:id="rId5"/>
    <p:sldLayoutId id="2147483661" r:id="rId6"/>
    <p:sldLayoutId id="2147483660" r:id="rId7"/>
    <p:sldLayoutId id="2147483658" r:id="rId8"/>
    <p:sldLayoutId id="2147483663" r:id="rId9"/>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9.xml"/><Relationship Id="rId4" Type="http://schemas.openxmlformats.org/officeDocument/2006/relationships/tags" Target="../tags/tag4.xml"/></Relationships>
</file>

<file path=ppt/slides/_rels/slide4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hyperlink" Target="https://koronavirus.edu.cz/" TargetMode="External"/><Relationship Id="rId4"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3" Type="http://schemas.openxmlformats.org/officeDocument/2006/relationships/tags" Target="../tags/tag10.xml"/><Relationship Id="rId21" Type="http://schemas.openxmlformats.org/officeDocument/2006/relationships/slideLayout" Target="../slideLayouts/slideLayout5.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chart" Target="../charts/char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chart" Target="../charts/chart36.xm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chart" Target="../charts/chart37.xml"/></Relationships>
</file>

<file path=ppt/slides/_rels/slide52.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chart" Target="../charts/chart38.xml"/><Relationship Id="rId5" Type="http://schemas.openxmlformats.org/officeDocument/2006/relationships/tags" Target="../tags/tag46.xml"/><Relationship Id="rId10" Type="http://schemas.openxmlformats.org/officeDocument/2006/relationships/slideLayout" Target="../slideLayouts/slideLayout5.xml"/><Relationship Id="rId4" Type="http://schemas.openxmlformats.org/officeDocument/2006/relationships/tags" Target="../tags/tag45.xml"/><Relationship Id="rId9" Type="http://schemas.openxmlformats.org/officeDocument/2006/relationships/tags" Target="../tags/tag5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Stav a vývoj epidemie COVID-19 </a:t>
            </a:r>
            <a:br>
              <a:rPr lang="cs-CZ" dirty="0"/>
            </a:br>
            <a:r>
              <a:rPr lang="cs-CZ" dirty="0"/>
              <a:t>v dostupných date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66116" y="3693109"/>
            <a:ext cx="11859768" cy="1506852"/>
          </a:xfrm>
        </p:spPr>
        <p:txBody>
          <a:bodyPr>
            <a:normAutofit/>
          </a:bodyPr>
          <a:lstStyle/>
          <a:p>
            <a:r>
              <a:rPr lang="cs-CZ" sz="3800" b="1" dirty="0">
                <a:solidFill>
                  <a:schemeClr val="tx1"/>
                </a:solidFill>
              </a:rPr>
              <a:t>Nákaza COVID-19 ve školách, u dětí, </a:t>
            </a:r>
          </a:p>
          <a:p>
            <a:r>
              <a:rPr lang="cs-CZ" sz="3800" b="1" dirty="0">
                <a:solidFill>
                  <a:schemeClr val="tx1"/>
                </a:solidFill>
              </a:rPr>
              <a:t>pedagogů a zaměstnanců škol </a:t>
            </a:r>
          </a:p>
        </p:txBody>
      </p:sp>
      <p:sp>
        <p:nvSpPr>
          <p:cNvPr id="2" name="TextovéPole 1"/>
          <p:cNvSpPr txBox="1"/>
          <p:nvPr/>
        </p:nvSpPr>
        <p:spPr>
          <a:xfrm>
            <a:off x="2752165" y="5244029"/>
            <a:ext cx="6723529" cy="430887"/>
          </a:xfrm>
          <a:prstGeom prst="rect">
            <a:avLst/>
          </a:prstGeom>
          <a:solidFill>
            <a:schemeClr val="accent2"/>
          </a:solidFill>
        </p:spPr>
        <p:txBody>
          <a:bodyPr wrap="square" rtlCol="0">
            <a:spAutoFit/>
          </a:bodyPr>
          <a:lstStyle/>
          <a:p>
            <a:pPr algn="ctr"/>
            <a:r>
              <a:rPr lang="cs-CZ" sz="2200" b="1" dirty="0">
                <a:solidFill>
                  <a:schemeClr val="bg1"/>
                </a:solidFill>
              </a:rPr>
              <a:t>Aktualizace s uzavřenými daty za </a:t>
            </a:r>
            <a:r>
              <a:rPr lang="cs-CZ" sz="2200" b="1" dirty="0" smtClean="0">
                <a:solidFill>
                  <a:schemeClr val="bg1"/>
                </a:solidFill>
              </a:rPr>
              <a:t>květen </a:t>
            </a:r>
            <a:r>
              <a:rPr lang="cs-CZ" sz="2200" b="1" dirty="0">
                <a:solidFill>
                  <a:schemeClr val="bg1"/>
                </a:solidFill>
              </a:rPr>
              <a:t>2021</a:t>
            </a:r>
          </a:p>
        </p:txBody>
      </p:sp>
    </p:spTree>
    <p:extLst>
      <p:ext uri="{BB962C8B-B14F-4D97-AF65-F5344CB8AC3E}">
        <p14:creationId xmlns:p14="http://schemas.microsoft.com/office/powerpoint/2010/main" val="714745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69474319"/>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211483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965423107"/>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4395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3124200"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9. – 13. 10.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6" name="TextovéPole 15">
            <a:extLst>
              <a:ext uri="{FF2B5EF4-FFF2-40B4-BE49-F238E27FC236}">
                <a16:creationId xmlns:a16="http://schemas.microsoft.com/office/drawing/2014/main" id="{373B2E1E-2120-4502-ACD6-98F9F02B9B83}"/>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8" name="Tabulka 7">
            <a:extLst>
              <a:ext uri="{FF2B5EF4-FFF2-40B4-BE49-F238E27FC236}">
                <a16:creationId xmlns:a16="http://schemas.microsoft.com/office/drawing/2014/main" id="{AC59217E-1668-4607-97B5-E189A9ADA497}"/>
              </a:ext>
            </a:extLst>
          </p:cNvPr>
          <p:cNvGraphicFramePr>
            <a:graphicFrameLocks noGrp="1"/>
          </p:cNvGraphicFramePr>
          <p:nvPr>
            <p:extLst>
              <p:ext uri="{D42A27DB-BD31-4B8C-83A1-F6EECF244321}">
                <p14:modId xmlns:p14="http://schemas.microsoft.com/office/powerpoint/2010/main" val="964893845"/>
              </p:ext>
            </p:extLst>
          </p:nvPr>
        </p:nvGraphicFramePr>
        <p:xfrm>
          <a:off x="10920888" y="1572135"/>
          <a:ext cx="880587" cy="4886492"/>
        </p:xfrm>
        <a:graphic>
          <a:graphicData uri="http://schemas.openxmlformats.org/drawingml/2006/table">
            <a:tbl>
              <a:tblPr/>
              <a:tblGrid>
                <a:gridCol w="880587">
                  <a:extLst>
                    <a:ext uri="{9D8B030D-6E8A-4147-A177-3AD203B41FA5}">
                      <a16:colId xmlns:a16="http://schemas.microsoft.com/office/drawing/2014/main" val="1724449875"/>
                    </a:ext>
                  </a:extLst>
                </a:gridCol>
              </a:tblGrid>
              <a:tr h="187942">
                <a:tc>
                  <a:txBody>
                    <a:bodyPr/>
                    <a:lstStyle/>
                    <a:p>
                      <a:pPr algn="ctr" fontAlgn="ctr"/>
                      <a:r>
                        <a:rPr lang="cs-CZ" sz="1200" b="1" i="1" u="none" strike="noStrike">
                          <a:solidFill>
                            <a:srgbClr val="000000"/>
                          </a:solidFill>
                          <a:effectLst/>
                          <a:latin typeface="Calibri" panose="020F0502020204030204" pitchFamily="34" charset="0"/>
                        </a:rPr>
                        <a:t>5,0</a:t>
                      </a:r>
                    </a:p>
                  </a:txBody>
                  <a:tcPr marL="9525" marR="9525" marT="0" marB="0" anchor="ctr">
                    <a:lnL>
                      <a:noFill/>
                    </a:lnL>
                    <a:lnR>
                      <a:noFill/>
                    </a:lnR>
                    <a:lnT>
                      <a:noFill/>
                    </a:lnT>
                    <a:lnB>
                      <a:noFill/>
                    </a:lnB>
                    <a:solidFill>
                      <a:srgbClr val="7EC57C"/>
                    </a:solidFill>
                  </a:tcPr>
                </a:tc>
                <a:extLst>
                  <a:ext uri="{0D108BD9-81ED-4DB2-BD59-A6C34878D82A}">
                    <a16:rowId xmlns:a16="http://schemas.microsoft.com/office/drawing/2014/main" val="602794713"/>
                  </a:ext>
                </a:extLst>
              </a:tr>
              <a:tr h="187942">
                <a:tc>
                  <a:txBody>
                    <a:bodyPr/>
                    <a:lstStyle/>
                    <a:p>
                      <a:pPr algn="ctr" fontAlgn="ctr"/>
                      <a:r>
                        <a:rPr lang="cs-CZ" sz="1200" b="1" i="1" u="none" strike="noStrike">
                          <a:solidFill>
                            <a:srgbClr val="000000"/>
                          </a:solidFill>
                          <a:effectLst/>
                          <a:latin typeface="Calibri" panose="020F0502020204030204" pitchFamily="34" charset="0"/>
                        </a:rPr>
                        <a:t>30,0</a:t>
                      </a:r>
                    </a:p>
                  </a:txBody>
                  <a:tcPr marL="9525" marR="9525" marT="0" marB="0" anchor="ctr">
                    <a:lnL>
                      <a:noFill/>
                    </a:lnL>
                    <a:lnR>
                      <a:noFill/>
                    </a:lnR>
                    <a:lnT>
                      <a:noFill/>
                    </a:lnT>
                    <a:lnB>
                      <a:noFill/>
                    </a:lnB>
                    <a:solidFill>
                      <a:srgbClr val="FED380"/>
                    </a:solidFill>
                  </a:tcPr>
                </a:tc>
                <a:extLst>
                  <a:ext uri="{0D108BD9-81ED-4DB2-BD59-A6C34878D82A}">
                    <a16:rowId xmlns:a16="http://schemas.microsoft.com/office/drawing/2014/main" val="1385574361"/>
                  </a:ext>
                </a:extLst>
              </a:tr>
              <a:tr h="187942">
                <a:tc>
                  <a:txBody>
                    <a:bodyPr/>
                    <a:lstStyle/>
                    <a:p>
                      <a:pPr algn="ctr" fontAlgn="ctr"/>
                      <a:r>
                        <a:rPr lang="cs-CZ" sz="1200" b="1" i="1" u="none" strike="noStrike">
                          <a:solidFill>
                            <a:srgbClr val="000000"/>
                          </a:solidFill>
                          <a:effectLst/>
                          <a:latin typeface="Calibri" panose="020F0502020204030204" pitchFamily="34" charset="0"/>
                        </a:rPr>
                        <a:t>55,9</a:t>
                      </a:r>
                    </a:p>
                  </a:txBody>
                  <a:tcPr marL="9525" marR="9525" marT="0" marB="0" anchor="ctr">
                    <a:lnL>
                      <a:noFill/>
                    </a:lnL>
                    <a:lnR>
                      <a:noFill/>
                    </a:lnR>
                    <a:lnT>
                      <a:noFill/>
                    </a:lnT>
                    <a:lnB>
                      <a:noFill/>
                    </a:lnB>
                    <a:solidFill>
                      <a:srgbClr val="FCAD79"/>
                    </a:solidFill>
                  </a:tcPr>
                </a:tc>
                <a:extLst>
                  <a:ext uri="{0D108BD9-81ED-4DB2-BD59-A6C34878D82A}">
                    <a16:rowId xmlns:a16="http://schemas.microsoft.com/office/drawing/2014/main" val="204356228"/>
                  </a:ext>
                </a:extLst>
              </a:tr>
              <a:tr h="187942">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976591817"/>
                  </a:ext>
                </a:extLst>
              </a:tr>
              <a:tr h="187942">
                <a:tc>
                  <a:txBody>
                    <a:bodyPr/>
                    <a:lstStyle/>
                    <a:p>
                      <a:pPr algn="ctr" fontAlgn="ctr"/>
                      <a:r>
                        <a:rPr lang="cs-CZ" sz="1200" b="1" i="1" u="none" strike="noStrike">
                          <a:solidFill>
                            <a:srgbClr val="000000"/>
                          </a:solidFill>
                          <a:effectLst/>
                          <a:latin typeface="Calibri" panose="020F0502020204030204" pitchFamily="34" charset="0"/>
                        </a:rPr>
                        <a:t>32,1</a:t>
                      </a:r>
                    </a:p>
                  </a:txBody>
                  <a:tcPr marL="9525" marR="9525" marT="0" marB="0" anchor="ctr">
                    <a:lnL>
                      <a:noFill/>
                    </a:lnL>
                    <a:lnR>
                      <a:noFill/>
                    </a:lnR>
                    <a:lnT>
                      <a:noFill/>
                    </a:lnT>
                    <a:lnB>
                      <a:noFill/>
                    </a:lnB>
                    <a:solidFill>
                      <a:srgbClr val="FED280"/>
                    </a:solidFill>
                  </a:tcPr>
                </a:tc>
                <a:extLst>
                  <a:ext uri="{0D108BD9-81ED-4DB2-BD59-A6C34878D82A}">
                    <a16:rowId xmlns:a16="http://schemas.microsoft.com/office/drawing/2014/main" val="829108815"/>
                  </a:ext>
                </a:extLst>
              </a:tr>
              <a:tr h="187942">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B9D780"/>
                    </a:solidFill>
                  </a:tcPr>
                </a:tc>
                <a:extLst>
                  <a:ext uri="{0D108BD9-81ED-4DB2-BD59-A6C34878D82A}">
                    <a16:rowId xmlns:a16="http://schemas.microsoft.com/office/drawing/2014/main" val="343208254"/>
                  </a:ext>
                </a:extLst>
              </a:tr>
              <a:tr h="187942">
                <a:tc>
                  <a:txBody>
                    <a:bodyPr/>
                    <a:lstStyle/>
                    <a:p>
                      <a:pPr algn="ctr" fontAlgn="ctr"/>
                      <a:r>
                        <a:rPr lang="cs-CZ" sz="1200" b="1" i="1" u="none" strike="noStrike">
                          <a:solidFill>
                            <a:srgbClr val="000000"/>
                          </a:solidFill>
                          <a:effectLst/>
                          <a:latin typeface="Calibri" panose="020F0502020204030204" pitchFamily="34" charset="0"/>
                        </a:rPr>
                        <a:t>11,2</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3041276549"/>
                  </a:ext>
                </a:extLst>
              </a:tr>
              <a:tr h="187942">
                <a:tc>
                  <a:txBody>
                    <a:bodyPr/>
                    <a:lstStyle/>
                    <a:p>
                      <a:pPr algn="ctr" fontAlgn="ctr"/>
                      <a:r>
                        <a:rPr lang="cs-CZ" sz="1200" b="1" i="1" u="none" strike="noStrike">
                          <a:solidFill>
                            <a:srgbClr val="000000"/>
                          </a:solidFill>
                          <a:effectLst/>
                          <a:latin typeface="Calibri" panose="020F0502020204030204" pitchFamily="34" charset="0"/>
                        </a:rPr>
                        <a:t>12,6</a:t>
                      </a:r>
                    </a:p>
                  </a:txBody>
                  <a:tcPr marL="9525" marR="9525" marT="0" marB="0" anchor="ctr">
                    <a:lnL>
                      <a:noFill/>
                    </a:lnL>
                    <a:lnR>
                      <a:noFill/>
                    </a:lnR>
                    <a:lnT>
                      <a:noFill/>
                    </a:lnT>
                    <a:lnB>
                      <a:noFill/>
                    </a:lnB>
                    <a:solidFill>
                      <a:srgbClr val="FBE983"/>
                    </a:solidFill>
                  </a:tcPr>
                </a:tc>
                <a:extLst>
                  <a:ext uri="{0D108BD9-81ED-4DB2-BD59-A6C34878D82A}">
                    <a16:rowId xmlns:a16="http://schemas.microsoft.com/office/drawing/2014/main" val="4096843841"/>
                  </a:ext>
                </a:extLst>
              </a:tr>
              <a:tr h="187942">
                <a:tc>
                  <a:txBody>
                    <a:bodyPr/>
                    <a:lstStyle/>
                    <a:p>
                      <a:pPr algn="ctr" fontAlgn="ctr"/>
                      <a:r>
                        <a:rPr lang="cs-CZ" sz="1200" b="1" i="1" u="none" strike="noStrike">
                          <a:solidFill>
                            <a:srgbClr val="000000"/>
                          </a:solidFill>
                          <a:effectLst/>
                          <a:latin typeface="Calibri" panose="020F0502020204030204" pitchFamily="34" charset="0"/>
                        </a:rPr>
                        <a:t>13,6</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2699528482"/>
                  </a:ext>
                </a:extLst>
              </a:tr>
              <a:tr h="187942">
                <a:tc>
                  <a:txBody>
                    <a:bodyPr/>
                    <a:lstStyle/>
                    <a:p>
                      <a:pPr algn="ctr" fontAlgn="ctr"/>
                      <a:r>
                        <a:rPr lang="cs-CZ" sz="1200" b="1" i="1" u="none" strike="noStrike">
                          <a:solidFill>
                            <a:srgbClr val="000000"/>
                          </a:solidFill>
                          <a:effectLst/>
                          <a:latin typeface="Calibri" panose="020F0502020204030204" pitchFamily="34" charset="0"/>
                        </a:rPr>
                        <a:t>19,4</a:t>
                      </a:r>
                    </a:p>
                  </a:txBody>
                  <a:tcPr marL="9525" marR="9525" marT="0" marB="0" anchor="ctr">
                    <a:lnL>
                      <a:noFill/>
                    </a:lnL>
                    <a:lnR>
                      <a:noFill/>
                    </a:lnR>
                    <a:lnT>
                      <a:noFill/>
                    </a:lnT>
                    <a:lnB>
                      <a:noFill/>
                    </a:lnB>
                    <a:solidFill>
                      <a:srgbClr val="FFE283"/>
                    </a:solidFill>
                  </a:tcPr>
                </a:tc>
                <a:extLst>
                  <a:ext uri="{0D108BD9-81ED-4DB2-BD59-A6C34878D82A}">
                    <a16:rowId xmlns:a16="http://schemas.microsoft.com/office/drawing/2014/main" val="1003793804"/>
                  </a:ext>
                </a:extLst>
              </a:tr>
              <a:tr h="187942">
                <a:tc>
                  <a:txBody>
                    <a:bodyPr/>
                    <a:lstStyle/>
                    <a:p>
                      <a:pPr algn="ctr" fontAlgn="ctr"/>
                      <a:r>
                        <a:rPr lang="cs-CZ" sz="1200" b="1" i="1" u="none" strike="noStrike">
                          <a:solidFill>
                            <a:srgbClr val="000000"/>
                          </a:solidFill>
                          <a:effectLst/>
                          <a:latin typeface="Calibri" panose="020F0502020204030204" pitchFamily="34" charset="0"/>
                        </a:rPr>
                        <a:t>35,1</a:t>
                      </a:r>
                    </a:p>
                  </a:txBody>
                  <a:tcPr marL="9525" marR="9525" marT="0" marB="0" anchor="ctr">
                    <a:lnL>
                      <a:noFill/>
                    </a:lnL>
                    <a:lnR>
                      <a:noFill/>
                    </a:lnR>
                    <a:lnT>
                      <a:noFill/>
                    </a:lnT>
                    <a:lnB>
                      <a:noFill/>
                    </a:lnB>
                    <a:solidFill>
                      <a:srgbClr val="FECB7E"/>
                    </a:solidFill>
                  </a:tcPr>
                </a:tc>
                <a:extLst>
                  <a:ext uri="{0D108BD9-81ED-4DB2-BD59-A6C34878D82A}">
                    <a16:rowId xmlns:a16="http://schemas.microsoft.com/office/drawing/2014/main" val="2183628108"/>
                  </a:ext>
                </a:extLst>
              </a:tr>
              <a:tr h="187942">
                <a:tc>
                  <a:txBody>
                    <a:bodyPr/>
                    <a:lstStyle/>
                    <a:p>
                      <a:pPr algn="ctr" fontAlgn="ctr"/>
                      <a:r>
                        <a:rPr lang="cs-CZ" sz="1200" b="1" i="1" u="none" strike="noStrike">
                          <a:solidFill>
                            <a:srgbClr val="000000"/>
                          </a:solidFill>
                          <a:effectLst/>
                          <a:latin typeface="Calibri" panose="020F0502020204030204" pitchFamily="34" charset="0"/>
                        </a:rPr>
                        <a:t>50,8</a:t>
                      </a:r>
                    </a:p>
                  </a:txBody>
                  <a:tcPr marL="9525" marR="9525" marT="0" marB="0" anchor="ctr">
                    <a:lnL>
                      <a:noFill/>
                    </a:lnL>
                    <a:lnR>
                      <a:noFill/>
                    </a:lnR>
                    <a:lnT>
                      <a:noFill/>
                    </a:lnT>
                    <a:lnB>
                      <a:noFill/>
                    </a:lnB>
                    <a:solidFill>
                      <a:srgbClr val="FDB57A"/>
                    </a:solidFill>
                  </a:tcPr>
                </a:tc>
                <a:extLst>
                  <a:ext uri="{0D108BD9-81ED-4DB2-BD59-A6C34878D82A}">
                    <a16:rowId xmlns:a16="http://schemas.microsoft.com/office/drawing/2014/main" val="1526068748"/>
                  </a:ext>
                </a:extLst>
              </a:tr>
              <a:tr h="187942">
                <a:tc>
                  <a:txBody>
                    <a:bodyPr/>
                    <a:lstStyle/>
                    <a:p>
                      <a:pPr algn="ctr" fontAlgn="ctr"/>
                      <a:r>
                        <a:rPr lang="cs-CZ" sz="1200" b="1" i="1" u="none" strike="noStrike">
                          <a:solidFill>
                            <a:srgbClr val="000000"/>
                          </a:solidFill>
                          <a:effectLst/>
                          <a:latin typeface="Calibri" panose="020F0502020204030204" pitchFamily="34" charset="0"/>
                        </a:rPr>
                        <a:t>9,0</a:t>
                      </a:r>
                    </a:p>
                  </a:txBody>
                  <a:tcPr marL="9525" marR="9525" marT="0" marB="0" anchor="ctr">
                    <a:lnL>
                      <a:noFill/>
                    </a:lnL>
                    <a:lnR>
                      <a:noFill/>
                    </a:lnR>
                    <a:lnT>
                      <a:noFill/>
                    </a:lnT>
                    <a:lnB>
                      <a:noFill/>
                    </a:lnB>
                    <a:solidFill>
                      <a:srgbClr val="C0D880"/>
                    </a:solidFill>
                  </a:tcPr>
                </a:tc>
                <a:extLst>
                  <a:ext uri="{0D108BD9-81ED-4DB2-BD59-A6C34878D82A}">
                    <a16:rowId xmlns:a16="http://schemas.microsoft.com/office/drawing/2014/main" val="2556770799"/>
                  </a:ext>
                </a:extLst>
              </a:tr>
              <a:tr h="187942">
                <a:tc>
                  <a:txBody>
                    <a:bodyPr/>
                    <a:lstStyle/>
                    <a:p>
                      <a:pPr algn="ctr" fontAlgn="ctr"/>
                      <a:r>
                        <a:rPr lang="cs-CZ" sz="1200" b="1" i="1" u="none" strike="noStrike">
                          <a:solidFill>
                            <a:srgbClr val="000000"/>
                          </a:solidFill>
                          <a:effectLst/>
                          <a:latin typeface="Calibri" panose="020F0502020204030204" pitchFamily="34" charset="0"/>
                        </a:rPr>
                        <a:t>3,4</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93704390"/>
                  </a:ext>
                </a:extLst>
              </a:tr>
              <a:tr h="187942">
                <a:tc>
                  <a:txBody>
                    <a:bodyPr/>
                    <a:lstStyle/>
                    <a:p>
                      <a:pPr algn="ctr" fontAlgn="ctr"/>
                      <a:r>
                        <a:rPr lang="cs-CZ" sz="1200" b="1" i="1" u="none" strike="noStrike">
                          <a:solidFill>
                            <a:srgbClr val="000000"/>
                          </a:solidFill>
                          <a:effectLst/>
                          <a:latin typeface="Calibri" panose="020F0502020204030204" pitchFamily="34" charset="0"/>
                        </a:rPr>
                        <a:t>9,4</a:t>
                      </a:r>
                    </a:p>
                  </a:txBody>
                  <a:tcPr marL="9525" marR="9525" marT="0" marB="0" anchor="ctr">
                    <a:lnL>
                      <a:noFill/>
                    </a:lnL>
                    <a:lnR>
                      <a:noFill/>
                    </a:lnR>
                    <a:lnT>
                      <a:noFill/>
                    </a:lnT>
                    <a:lnB>
                      <a:noFill/>
                    </a:lnB>
                    <a:solidFill>
                      <a:srgbClr val="C6DA80"/>
                    </a:solidFill>
                  </a:tcPr>
                </a:tc>
                <a:extLst>
                  <a:ext uri="{0D108BD9-81ED-4DB2-BD59-A6C34878D82A}">
                    <a16:rowId xmlns:a16="http://schemas.microsoft.com/office/drawing/2014/main" val="4031149517"/>
                  </a:ext>
                </a:extLst>
              </a:tr>
              <a:tr h="187942">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91CB7D"/>
                    </a:solidFill>
                  </a:tcPr>
                </a:tc>
                <a:extLst>
                  <a:ext uri="{0D108BD9-81ED-4DB2-BD59-A6C34878D82A}">
                    <a16:rowId xmlns:a16="http://schemas.microsoft.com/office/drawing/2014/main" val="2129064013"/>
                  </a:ext>
                </a:extLst>
              </a:tr>
              <a:tr h="187942">
                <a:tc>
                  <a:txBody>
                    <a:bodyPr/>
                    <a:lstStyle/>
                    <a:p>
                      <a:pPr algn="ctr" fontAlgn="ctr"/>
                      <a:r>
                        <a:rPr lang="cs-CZ" sz="1200" b="1" i="1" u="none" strike="noStrike">
                          <a:solidFill>
                            <a:srgbClr val="000000"/>
                          </a:solidFill>
                          <a:effectLst/>
                          <a:latin typeface="Calibri" panose="020F0502020204030204" pitchFamily="34" charset="0"/>
                        </a:rPr>
                        <a:t>6,3</a:t>
                      </a:r>
                    </a:p>
                  </a:txBody>
                  <a:tcPr marL="9525" marR="9525" marT="0" marB="0" anchor="ctr">
                    <a:lnL>
                      <a:noFill/>
                    </a:lnL>
                    <a:lnR>
                      <a:noFill/>
                    </a:lnR>
                    <a:lnT>
                      <a:noFill/>
                    </a:lnT>
                    <a:lnB>
                      <a:noFill/>
                    </a:lnB>
                    <a:solidFill>
                      <a:srgbClr val="92CB7D"/>
                    </a:solidFill>
                  </a:tcPr>
                </a:tc>
                <a:extLst>
                  <a:ext uri="{0D108BD9-81ED-4DB2-BD59-A6C34878D82A}">
                    <a16:rowId xmlns:a16="http://schemas.microsoft.com/office/drawing/2014/main" val="113742861"/>
                  </a:ext>
                </a:extLst>
              </a:tr>
              <a:tr h="187942">
                <a:tc>
                  <a:txBody>
                    <a:bodyPr/>
                    <a:lstStyle/>
                    <a:p>
                      <a:pPr algn="ctr" fontAlgn="ctr"/>
                      <a:r>
                        <a:rPr lang="cs-CZ" sz="1200" b="1" i="1" u="none" strike="noStrike">
                          <a:solidFill>
                            <a:srgbClr val="000000"/>
                          </a:solidFill>
                          <a:effectLst/>
                          <a:latin typeface="Calibri" panose="020F0502020204030204" pitchFamily="34" charset="0"/>
                        </a:rPr>
                        <a:t>18,3</a:t>
                      </a:r>
                    </a:p>
                  </a:txBody>
                  <a:tcPr marL="9525" marR="9525" marT="0" marB="0" anchor="ctr">
                    <a:lnL>
                      <a:noFill/>
                    </a:lnL>
                    <a:lnR>
                      <a:noFill/>
                    </a:lnR>
                    <a:lnT>
                      <a:noFill/>
                    </a:lnT>
                    <a:lnB>
                      <a:noFill/>
                    </a:lnB>
                    <a:solidFill>
                      <a:srgbClr val="FFE483"/>
                    </a:solidFill>
                  </a:tcPr>
                </a:tc>
                <a:extLst>
                  <a:ext uri="{0D108BD9-81ED-4DB2-BD59-A6C34878D82A}">
                    <a16:rowId xmlns:a16="http://schemas.microsoft.com/office/drawing/2014/main" val="3112960727"/>
                  </a:ext>
                </a:extLst>
              </a:tr>
              <a:tr h="187942">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E1E282"/>
                    </a:solidFill>
                  </a:tcPr>
                </a:tc>
                <a:extLst>
                  <a:ext uri="{0D108BD9-81ED-4DB2-BD59-A6C34878D82A}">
                    <a16:rowId xmlns:a16="http://schemas.microsoft.com/office/drawing/2014/main" val="2609517295"/>
                  </a:ext>
                </a:extLst>
              </a:tr>
              <a:tr h="187942">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204462552"/>
                  </a:ext>
                </a:extLst>
              </a:tr>
              <a:tr h="187942">
                <a:tc>
                  <a:txBody>
                    <a:bodyPr/>
                    <a:lstStyle/>
                    <a:p>
                      <a:pPr algn="ctr" fontAlgn="ctr"/>
                      <a:r>
                        <a:rPr lang="cs-CZ" sz="1200" b="1" i="1" u="none" strike="noStrike">
                          <a:solidFill>
                            <a:srgbClr val="000000"/>
                          </a:solidFill>
                          <a:effectLst/>
                          <a:latin typeface="Calibri" panose="020F0502020204030204" pitchFamily="34" charset="0"/>
                        </a:rPr>
                        <a:t>10,0</a:t>
                      </a:r>
                    </a:p>
                  </a:txBody>
                  <a:tcPr marL="9525" marR="9525" marT="0" marB="0" anchor="ctr">
                    <a:lnL>
                      <a:noFill/>
                    </a:lnL>
                    <a:lnR>
                      <a:noFill/>
                    </a:lnR>
                    <a:lnT>
                      <a:noFill/>
                    </a:lnT>
                    <a:lnB>
                      <a:noFill/>
                    </a:lnB>
                    <a:solidFill>
                      <a:srgbClr val="D0DD81"/>
                    </a:solidFill>
                  </a:tcPr>
                </a:tc>
                <a:extLst>
                  <a:ext uri="{0D108BD9-81ED-4DB2-BD59-A6C34878D82A}">
                    <a16:rowId xmlns:a16="http://schemas.microsoft.com/office/drawing/2014/main" val="1159801911"/>
                  </a:ext>
                </a:extLst>
              </a:tr>
              <a:tr h="187942">
                <a:tc>
                  <a:txBody>
                    <a:bodyPr/>
                    <a:lstStyle/>
                    <a:p>
                      <a:pPr algn="ctr" fontAlgn="ctr"/>
                      <a:r>
                        <a:rPr lang="cs-CZ" sz="1200" b="1" i="1" u="none" strike="noStrike">
                          <a:solidFill>
                            <a:srgbClr val="000000"/>
                          </a:solidFill>
                          <a:effectLst/>
                          <a:latin typeface="Calibri" panose="020F0502020204030204" pitchFamily="34" charset="0"/>
                        </a:rPr>
                        <a:t>103,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424204372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50704942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74427540"/>
                  </a:ext>
                </a:extLst>
              </a:tr>
              <a:tr h="187942">
                <a:tc>
                  <a:txBody>
                    <a:bodyPr/>
                    <a:lstStyle/>
                    <a:p>
                      <a:pPr algn="ctr" fontAlgn="ctr"/>
                      <a:r>
                        <a:rPr lang="cs-CZ" sz="1200" b="1" i="1" u="none" strike="noStrike">
                          <a:solidFill>
                            <a:srgbClr val="000000"/>
                          </a:solidFill>
                          <a:effectLst/>
                          <a:latin typeface="Calibri" panose="020F0502020204030204" pitchFamily="34" charset="0"/>
                        </a:rPr>
                        <a:t>4,0</a:t>
                      </a:r>
                    </a:p>
                  </a:txBody>
                  <a:tcPr marL="9525" marR="9525" marT="0" marB="0" anchor="ctr">
                    <a:lnL>
                      <a:noFill/>
                    </a:lnL>
                    <a:lnR>
                      <a:noFill/>
                    </a:lnR>
                    <a:lnT>
                      <a:noFill/>
                    </a:lnT>
                    <a:lnB>
                      <a:noFill/>
                    </a:lnB>
                    <a:solidFill>
                      <a:srgbClr val="6CC07B"/>
                    </a:solidFill>
                  </a:tcPr>
                </a:tc>
                <a:extLst>
                  <a:ext uri="{0D108BD9-81ED-4DB2-BD59-A6C34878D82A}">
                    <a16:rowId xmlns:a16="http://schemas.microsoft.com/office/drawing/2014/main" val="1120986850"/>
                  </a:ext>
                </a:extLst>
              </a:tr>
              <a:tr h="187942">
                <a:tc>
                  <a:txBody>
                    <a:bodyPr/>
                    <a:lstStyle/>
                    <a:p>
                      <a:pPr algn="ctr" fontAlgn="ctr"/>
                      <a:r>
                        <a:rPr lang="cs-CZ" sz="1200" b="1" i="1" u="none" strike="noStrike" dirty="0">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388465609"/>
                  </a:ext>
                </a:extLst>
              </a:tr>
            </a:tbl>
          </a:graphicData>
        </a:graphic>
      </p:graphicFrame>
    </p:spTree>
    <p:extLst>
      <p:ext uri="{BB962C8B-B14F-4D97-AF65-F5344CB8AC3E}">
        <p14:creationId xmlns:p14="http://schemas.microsoft.com/office/powerpoint/2010/main" val="4006937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338632294"/>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2482850"/>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453665521"/>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9335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933700"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4. 10. – 17. 11.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2545418" y="6547964"/>
            <a:ext cx="436209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Od 14. 10. 2020 uzavření všech škol (mimo mateřských) </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8458459" y="6557490"/>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5" name="Tabulka 4">
            <a:extLst>
              <a:ext uri="{FF2B5EF4-FFF2-40B4-BE49-F238E27FC236}">
                <a16:creationId xmlns:a16="http://schemas.microsoft.com/office/drawing/2014/main" id="{90EBF29B-D23A-43F4-A147-1AB6556004BE}"/>
              </a:ext>
            </a:extLst>
          </p:cNvPr>
          <p:cNvGraphicFramePr>
            <a:graphicFrameLocks noGrp="1"/>
          </p:cNvGraphicFramePr>
          <p:nvPr>
            <p:extLst>
              <p:ext uri="{D42A27DB-BD31-4B8C-83A1-F6EECF244321}">
                <p14:modId xmlns:p14="http://schemas.microsoft.com/office/powerpoint/2010/main" val="2144958997"/>
              </p:ext>
            </p:extLst>
          </p:nvPr>
        </p:nvGraphicFramePr>
        <p:xfrm>
          <a:off x="10920888" y="1572134"/>
          <a:ext cx="861537" cy="4886492"/>
        </p:xfrm>
        <a:graphic>
          <a:graphicData uri="http://schemas.openxmlformats.org/drawingml/2006/table">
            <a:tbl>
              <a:tblPr/>
              <a:tblGrid>
                <a:gridCol w="861537">
                  <a:extLst>
                    <a:ext uri="{9D8B030D-6E8A-4147-A177-3AD203B41FA5}">
                      <a16:colId xmlns:a16="http://schemas.microsoft.com/office/drawing/2014/main" val="2067077190"/>
                    </a:ext>
                  </a:extLst>
                </a:gridCol>
              </a:tblGrid>
              <a:tr h="187942">
                <a:tc>
                  <a:txBody>
                    <a:bodyPr/>
                    <a:lstStyle/>
                    <a:p>
                      <a:pPr algn="ctr" fontAlgn="ctr"/>
                      <a:r>
                        <a:rPr lang="cs-CZ" sz="1200" b="1" i="1" u="none" strike="noStrike">
                          <a:solidFill>
                            <a:srgbClr val="000000"/>
                          </a:solidFill>
                          <a:effectLst/>
                          <a:latin typeface="Calibri" panose="020F0502020204030204" pitchFamily="34" charset="0"/>
                        </a:rPr>
                        <a:t>46,2</a:t>
                      </a:r>
                    </a:p>
                  </a:txBody>
                  <a:tcPr marL="9525" marR="9525" marT="0" marB="0" anchor="ctr">
                    <a:lnL>
                      <a:noFill/>
                    </a:lnL>
                    <a:lnR>
                      <a:noFill/>
                    </a:lnR>
                    <a:lnT>
                      <a:noFill/>
                    </a:lnT>
                    <a:lnB>
                      <a:noFill/>
                    </a:lnB>
                    <a:solidFill>
                      <a:srgbClr val="FDB97B"/>
                    </a:solidFill>
                  </a:tcPr>
                </a:tc>
                <a:extLst>
                  <a:ext uri="{0D108BD9-81ED-4DB2-BD59-A6C34878D82A}">
                    <a16:rowId xmlns:a16="http://schemas.microsoft.com/office/drawing/2014/main" val="4065016512"/>
                  </a:ext>
                </a:extLst>
              </a:tr>
              <a:tr h="187942">
                <a:tc>
                  <a:txBody>
                    <a:bodyPr/>
                    <a:lstStyle/>
                    <a:p>
                      <a:pPr algn="ctr" fontAlgn="ctr"/>
                      <a:r>
                        <a:rPr lang="cs-CZ" sz="1200" b="1" i="1" u="none" strike="noStrike">
                          <a:solidFill>
                            <a:srgbClr val="000000"/>
                          </a:solidFill>
                          <a:effectLst/>
                          <a:latin typeface="Calibri" panose="020F0502020204030204" pitchFamily="34" charset="0"/>
                        </a:rPr>
                        <a:t>4,4</a:t>
                      </a:r>
                    </a:p>
                  </a:txBody>
                  <a:tcPr marL="9525" marR="9525" marT="0" marB="0" anchor="ctr">
                    <a:lnL>
                      <a:noFill/>
                    </a:lnL>
                    <a:lnR>
                      <a:noFill/>
                    </a:lnR>
                    <a:lnT>
                      <a:noFill/>
                    </a:lnT>
                    <a:lnB>
                      <a:noFill/>
                    </a:lnB>
                    <a:solidFill>
                      <a:srgbClr val="74C37C"/>
                    </a:solidFill>
                  </a:tcPr>
                </a:tc>
                <a:extLst>
                  <a:ext uri="{0D108BD9-81ED-4DB2-BD59-A6C34878D82A}">
                    <a16:rowId xmlns:a16="http://schemas.microsoft.com/office/drawing/2014/main" val="1292558974"/>
                  </a:ext>
                </a:extLst>
              </a:tr>
              <a:tr h="187942">
                <a:tc>
                  <a:txBody>
                    <a:bodyPr/>
                    <a:lstStyle/>
                    <a:p>
                      <a:pPr algn="ctr" fontAlgn="ctr"/>
                      <a:r>
                        <a:rPr lang="cs-CZ" sz="1200" b="1" i="1" u="none" strike="noStrike">
                          <a:solidFill>
                            <a:srgbClr val="000000"/>
                          </a:solidFill>
                          <a:effectLst/>
                          <a:latin typeface="Calibri" panose="020F0502020204030204" pitchFamily="34" charset="0"/>
                        </a:rPr>
                        <a:t>73,7</a:t>
                      </a:r>
                    </a:p>
                  </a:txBody>
                  <a:tcPr marL="9525" marR="9525" marT="0" marB="0" anchor="ctr">
                    <a:lnL>
                      <a:noFill/>
                    </a:lnL>
                    <a:lnR>
                      <a:noFill/>
                    </a:lnR>
                    <a:lnT>
                      <a:noFill/>
                    </a:lnT>
                    <a:lnB>
                      <a:noFill/>
                    </a:lnB>
                    <a:solidFill>
                      <a:srgbClr val="FA8C72"/>
                    </a:solidFill>
                  </a:tcPr>
                </a:tc>
                <a:extLst>
                  <a:ext uri="{0D108BD9-81ED-4DB2-BD59-A6C34878D82A}">
                    <a16:rowId xmlns:a16="http://schemas.microsoft.com/office/drawing/2014/main" val="926214676"/>
                  </a:ext>
                </a:extLst>
              </a:tr>
              <a:tr h="187942">
                <a:tc>
                  <a:txBody>
                    <a:bodyPr/>
                    <a:lstStyle/>
                    <a:p>
                      <a:pPr algn="ctr" fontAlgn="ctr"/>
                      <a:r>
                        <a:rPr lang="cs-CZ" sz="1200" b="1" i="1" u="none" strike="noStrike">
                          <a:solidFill>
                            <a:srgbClr val="000000"/>
                          </a:solidFill>
                          <a:effectLst/>
                          <a:latin typeface="Calibri" panose="020F0502020204030204" pitchFamily="34" charset="0"/>
                        </a:rPr>
                        <a:t>56,6</a:t>
                      </a:r>
                    </a:p>
                  </a:txBody>
                  <a:tcPr marL="9525" marR="9525" marT="0" marB="0" anchor="ctr">
                    <a:lnL>
                      <a:noFill/>
                    </a:lnL>
                    <a:lnR>
                      <a:noFill/>
                    </a:lnR>
                    <a:lnT>
                      <a:noFill/>
                    </a:lnT>
                    <a:lnB>
                      <a:noFill/>
                    </a:lnB>
                    <a:solidFill>
                      <a:srgbClr val="FCAA78"/>
                    </a:solidFill>
                  </a:tcPr>
                </a:tc>
                <a:extLst>
                  <a:ext uri="{0D108BD9-81ED-4DB2-BD59-A6C34878D82A}">
                    <a16:rowId xmlns:a16="http://schemas.microsoft.com/office/drawing/2014/main" val="1977803356"/>
                  </a:ext>
                </a:extLst>
              </a:tr>
              <a:tr h="187942">
                <a:tc>
                  <a:txBody>
                    <a:bodyPr/>
                    <a:lstStyle/>
                    <a:p>
                      <a:pPr algn="ctr" fontAlgn="ctr"/>
                      <a:r>
                        <a:rPr lang="cs-CZ" sz="1200" b="1" i="1" u="none" strike="noStrike">
                          <a:solidFill>
                            <a:srgbClr val="000000"/>
                          </a:solidFill>
                          <a:effectLst/>
                          <a:latin typeface="Calibri" panose="020F0502020204030204" pitchFamily="34" charset="0"/>
                        </a:rPr>
                        <a:t>26,9</a:t>
                      </a:r>
                    </a:p>
                  </a:txBody>
                  <a:tcPr marL="9525" marR="9525" marT="0" marB="0" anchor="ctr">
                    <a:lnL>
                      <a:noFill/>
                    </a:lnL>
                    <a:lnR>
                      <a:noFill/>
                    </a:lnR>
                    <a:lnT>
                      <a:noFill/>
                    </a:lnT>
                    <a:lnB>
                      <a:noFill/>
                    </a:lnB>
                    <a:solidFill>
                      <a:srgbClr val="FFE082"/>
                    </a:solidFill>
                  </a:tcPr>
                </a:tc>
                <a:extLst>
                  <a:ext uri="{0D108BD9-81ED-4DB2-BD59-A6C34878D82A}">
                    <a16:rowId xmlns:a16="http://schemas.microsoft.com/office/drawing/2014/main" val="1372456649"/>
                  </a:ext>
                </a:extLst>
              </a:tr>
              <a:tr h="187942">
                <a:tc>
                  <a:txBody>
                    <a:bodyPr/>
                    <a:lstStyle/>
                    <a:p>
                      <a:pPr algn="ctr" fontAlgn="ctr"/>
                      <a:r>
                        <a:rPr lang="cs-CZ" sz="1200" b="1" i="1" u="none" strike="noStrike">
                          <a:solidFill>
                            <a:srgbClr val="000000"/>
                          </a:solidFill>
                          <a:effectLst/>
                          <a:latin typeface="Calibri" panose="020F0502020204030204" pitchFamily="34" charset="0"/>
                        </a:rPr>
                        <a:t>9,8</a:t>
                      </a:r>
                    </a:p>
                  </a:txBody>
                  <a:tcPr marL="9525" marR="9525" marT="0" marB="0" anchor="ctr">
                    <a:lnL>
                      <a:noFill/>
                    </a:lnL>
                    <a:lnR>
                      <a:noFill/>
                    </a:lnR>
                    <a:lnT>
                      <a:noFill/>
                    </a:lnT>
                    <a:lnB>
                      <a:noFill/>
                    </a:lnB>
                    <a:solidFill>
                      <a:srgbClr val="B9D67F"/>
                    </a:solidFill>
                  </a:tcPr>
                </a:tc>
                <a:extLst>
                  <a:ext uri="{0D108BD9-81ED-4DB2-BD59-A6C34878D82A}">
                    <a16:rowId xmlns:a16="http://schemas.microsoft.com/office/drawing/2014/main" val="2376345954"/>
                  </a:ext>
                </a:extLst>
              </a:tr>
              <a:tr h="187942">
                <a:tc>
                  <a:txBody>
                    <a:bodyPr/>
                    <a:lstStyle/>
                    <a:p>
                      <a:pPr algn="ctr" fontAlgn="ctr"/>
                      <a:r>
                        <a:rPr lang="cs-CZ" sz="1200" b="1" i="1" u="none" strike="noStrike">
                          <a:solidFill>
                            <a:srgbClr val="000000"/>
                          </a:solidFill>
                          <a:effectLst/>
                          <a:latin typeface="Calibri" panose="020F0502020204030204" pitchFamily="34" charset="0"/>
                        </a:rPr>
                        <a:t>95,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958357177"/>
                  </a:ext>
                </a:extLst>
              </a:tr>
              <a:tr h="187942">
                <a:tc>
                  <a:txBody>
                    <a:bodyPr/>
                    <a:lstStyle/>
                    <a:p>
                      <a:pPr algn="ctr" fontAlgn="ctr"/>
                      <a:r>
                        <a:rPr lang="cs-CZ" sz="1200" b="1" i="1" u="none" strike="noStrike">
                          <a:solidFill>
                            <a:srgbClr val="000000"/>
                          </a:solidFill>
                          <a:effectLst/>
                          <a:latin typeface="Calibri" panose="020F0502020204030204" pitchFamily="34" charset="0"/>
                        </a:rPr>
                        <a:t>10,7</a:t>
                      </a:r>
                    </a:p>
                  </a:txBody>
                  <a:tcPr marL="9525" marR="9525" marT="0" marB="0" anchor="ctr">
                    <a:lnL>
                      <a:noFill/>
                    </a:lnL>
                    <a:lnR>
                      <a:noFill/>
                    </a:lnR>
                    <a:lnT>
                      <a:noFill/>
                    </a:lnT>
                    <a:lnB>
                      <a:noFill/>
                    </a:lnB>
                    <a:solidFill>
                      <a:srgbClr val="C3D980"/>
                    </a:solidFill>
                  </a:tcPr>
                </a:tc>
                <a:extLst>
                  <a:ext uri="{0D108BD9-81ED-4DB2-BD59-A6C34878D82A}">
                    <a16:rowId xmlns:a16="http://schemas.microsoft.com/office/drawing/2014/main" val="1321089974"/>
                  </a:ext>
                </a:extLst>
              </a:tr>
              <a:tr h="187942">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3808444399"/>
                  </a:ext>
                </a:extLst>
              </a:tr>
              <a:tr h="187942">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EEE683"/>
                    </a:solidFill>
                  </a:tcPr>
                </a:tc>
                <a:extLst>
                  <a:ext uri="{0D108BD9-81ED-4DB2-BD59-A6C34878D82A}">
                    <a16:rowId xmlns:a16="http://schemas.microsoft.com/office/drawing/2014/main" val="2308164704"/>
                  </a:ext>
                </a:extLst>
              </a:tr>
              <a:tr h="187942">
                <a:tc>
                  <a:txBody>
                    <a:bodyPr/>
                    <a:lstStyle/>
                    <a:p>
                      <a:pPr algn="ctr" fontAlgn="ctr"/>
                      <a:r>
                        <a:rPr lang="cs-CZ" sz="1200" b="1" i="1" u="none" strike="noStrike">
                          <a:solidFill>
                            <a:srgbClr val="000000"/>
                          </a:solidFill>
                          <a:effectLst/>
                          <a:latin typeface="Calibri" panose="020F0502020204030204" pitchFamily="34" charset="0"/>
                        </a:rPr>
                        <a:t>31,0</a:t>
                      </a:r>
                    </a:p>
                  </a:txBody>
                  <a:tcPr marL="9525" marR="9525" marT="0" marB="0" anchor="ctr">
                    <a:lnL>
                      <a:noFill/>
                    </a:lnL>
                    <a:lnR>
                      <a:noFill/>
                    </a:lnR>
                    <a:lnT>
                      <a:noFill/>
                    </a:lnT>
                    <a:lnB>
                      <a:noFill/>
                    </a:lnB>
                    <a:solidFill>
                      <a:srgbClr val="FED280"/>
                    </a:solidFill>
                  </a:tcPr>
                </a:tc>
                <a:extLst>
                  <a:ext uri="{0D108BD9-81ED-4DB2-BD59-A6C34878D82A}">
                    <a16:rowId xmlns:a16="http://schemas.microsoft.com/office/drawing/2014/main" val="543075618"/>
                  </a:ext>
                </a:extLst>
              </a:tr>
              <a:tr h="187942">
                <a:tc>
                  <a:txBody>
                    <a:bodyPr/>
                    <a:lstStyle/>
                    <a:p>
                      <a:pPr algn="ctr" fontAlgn="ctr"/>
                      <a:r>
                        <a:rPr lang="cs-CZ" sz="1200" b="1" i="1" u="none" strike="noStrike">
                          <a:solidFill>
                            <a:srgbClr val="000000"/>
                          </a:solidFill>
                          <a:effectLst/>
                          <a:latin typeface="Calibri" panose="020F0502020204030204" pitchFamily="34" charset="0"/>
                        </a:rPr>
                        <a:t>8,3</a:t>
                      </a:r>
                    </a:p>
                  </a:txBody>
                  <a:tcPr marL="9525" marR="9525" marT="0" marB="0" anchor="ctr">
                    <a:lnL>
                      <a:noFill/>
                    </a:lnL>
                    <a:lnR>
                      <a:noFill/>
                    </a:lnR>
                    <a:lnT>
                      <a:noFill/>
                    </a:lnT>
                    <a:lnB>
                      <a:noFill/>
                    </a:lnB>
                    <a:solidFill>
                      <a:srgbClr val="A6D17E"/>
                    </a:solidFill>
                  </a:tcPr>
                </a:tc>
                <a:extLst>
                  <a:ext uri="{0D108BD9-81ED-4DB2-BD59-A6C34878D82A}">
                    <a16:rowId xmlns:a16="http://schemas.microsoft.com/office/drawing/2014/main" val="3631251038"/>
                  </a:ext>
                </a:extLst>
              </a:tr>
              <a:tr h="187942">
                <a:tc>
                  <a:txBody>
                    <a:bodyPr/>
                    <a:lstStyle/>
                    <a:p>
                      <a:pPr algn="ctr" fontAlgn="ctr"/>
                      <a:r>
                        <a:rPr lang="cs-CZ" sz="1200" b="1" i="1" u="none" strike="noStrike">
                          <a:solidFill>
                            <a:srgbClr val="000000"/>
                          </a:solidFill>
                          <a:effectLst/>
                          <a:latin typeface="Calibri" panose="020F0502020204030204" pitchFamily="34" charset="0"/>
                        </a:rPr>
                        <a:t>16,7</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2366033408"/>
                  </a:ext>
                </a:extLst>
              </a:tr>
              <a:tr h="187942">
                <a:tc>
                  <a:txBody>
                    <a:bodyPr/>
                    <a:lstStyle/>
                    <a:p>
                      <a:pPr algn="ctr" fontAlgn="ctr"/>
                      <a:r>
                        <a:rPr lang="cs-CZ" sz="1200" b="1" i="1" u="none" strike="noStrike">
                          <a:solidFill>
                            <a:srgbClr val="000000"/>
                          </a:solidFill>
                          <a:effectLst/>
                          <a:latin typeface="Calibri" panose="020F0502020204030204" pitchFamily="34" charset="0"/>
                        </a:rPr>
                        <a:t>37,0</a:t>
                      </a:r>
                    </a:p>
                  </a:txBody>
                  <a:tcPr marL="9525" marR="9525" marT="0" marB="0" anchor="ctr">
                    <a:lnL>
                      <a:noFill/>
                    </a:lnL>
                    <a:lnR>
                      <a:noFill/>
                    </a:lnR>
                    <a:lnT>
                      <a:noFill/>
                    </a:lnT>
                    <a:lnB>
                      <a:noFill/>
                    </a:lnB>
                    <a:solidFill>
                      <a:srgbClr val="FEC87E"/>
                    </a:solidFill>
                  </a:tcPr>
                </a:tc>
                <a:extLst>
                  <a:ext uri="{0D108BD9-81ED-4DB2-BD59-A6C34878D82A}">
                    <a16:rowId xmlns:a16="http://schemas.microsoft.com/office/drawing/2014/main" val="1009591793"/>
                  </a:ext>
                </a:extLst>
              </a:tr>
              <a:tr h="187942">
                <a:tc>
                  <a:txBody>
                    <a:bodyPr/>
                    <a:lstStyle/>
                    <a:p>
                      <a:pPr algn="ctr" fontAlgn="ctr"/>
                      <a:r>
                        <a:rPr lang="cs-CZ" sz="1200" b="1" i="1" u="none" strike="noStrike">
                          <a:solidFill>
                            <a:srgbClr val="000000"/>
                          </a:solidFill>
                          <a:effectLst/>
                          <a:latin typeface="Calibri" panose="020F0502020204030204" pitchFamily="34" charset="0"/>
                        </a:rPr>
                        <a:t>26,0</a:t>
                      </a:r>
                    </a:p>
                  </a:txBody>
                  <a:tcPr marL="9525" marR="9525" marT="0" marB="0" anchor="ctr">
                    <a:lnL>
                      <a:noFill/>
                    </a:lnL>
                    <a:lnR>
                      <a:noFill/>
                    </a:lnR>
                    <a:lnT>
                      <a:noFill/>
                    </a:lnT>
                    <a:lnB>
                      <a:noFill/>
                    </a:lnB>
                    <a:solidFill>
                      <a:srgbClr val="FFDA81"/>
                    </a:solidFill>
                  </a:tcPr>
                </a:tc>
                <a:extLst>
                  <a:ext uri="{0D108BD9-81ED-4DB2-BD59-A6C34878D82A}">
                    <a16:rowId xmlns:a16="http://schemas.microsoft.com/office/drawing/2014/main" val="3542445039"/>
                  </a:ext>
                </a:extLst>
              </a:tr>
              <a:tr h="187942">
                <a:tc>
                  <a:txBody>
                    <a:bodyPr/>
                    <a:lstStyle/>
                    <a:p>
                      <a:pPr algn="ctr" fontAlgn="ctr"/>
                      <a:r>
                        <a:rPr lang="cs-CZ" sz="1200" b="1" i="1" u="none" strike="noStrike">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16050183"/>
                  </a:ext>
                </a:extLst>
              </a:tr>
              <a:tr h="187942">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C8DB80"/>
                    </a:solidFill>
                  </a:tcPr>
                </a:tc>
                <a:extLst>
                  <a:ext uri="{0D108BD9-81ED-4DB2-BD59-A6C34878D82A}">
                    <a16:rowId xmlns:a16="http://schemas.microsoft.com/office/drawing/2014/main" val="1158595693"/>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309024171"/>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656643720"/>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698899514"/>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05546499"/>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27031387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01291062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849790424"/>
                  </a:ext>
                </a:extLst>
              </a:tr>
              <a:tr h="187942">
                <a:tc>
                  <a:txBody>
                    <a:bodyPr/>
                    <a:lstStyle/>
                    <a:p>
                      <a:pPr algn="ctr" fontAlgn="ctr"/>
                      <a:r>
                        <a:rPr lang="cs-CZ" sz="1200" b="1" i="1" u="none" strike="noStrike">
                          <a:solidFill>
                            <a:srgbClr val="000000"/>
                          </a:solidFill>
                          <a:effectLst/>
                          <a:latin typeface="Calibri" panose="020F0502020204030204" pitchFamily="34" charset="0"/>
                        </a:rPr>
                        <a:t>10,0</a:t>
                      </a:r>
                    </a:p>
                  </a:txBody>
                  <a:tcPr marL="9525" marR="9525" marT="0" marB="0" anchor="ctr">
                    <a:lnL>
                      <a:noFill/>
                    </a:lnL>
                    <a:lnR>
                      <a:noFill/>
                    </a:lnR>
                    <a:lnT>
                      <a:noFill/>
                    </a:lnT>
                    <a:lnB>
                      <a:noFill/>
                    </a:lnB>
                    <a:solidFill>
                      <a:srgbClr val="BBD780"/>
                    </a:solidFill>
                  </a:tcPr>
                </a:tc>
                <a:extLst>
                  <a:ext uri="{0D108BD9-81ED-4DB2-BD59-A6C34878D82A}">
                    <a16:rowId xmlns:a16="http://schemas.microsoft.com/office/drawing/2014/main" val="127483088"/>
                  </a:ext>
                </a:extLst>
              </a:tr>
              <a:tr h="187942">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62416143"/>
                  </a:ext>
                </a:extLst>
              </a:tr>
            </a:tbl>
          </a:graphicData>
        </a:graphic>
      </p:graphicFrame>
    </p:spTree>
    <p:extLst>
      <p:ext uri="{BB962C8B-B14F-4D97-AF65-F5344CB8AC3E}">
        <p14:creationId xmlns:p14="http://schemas.microsoft.com/office/powerpoint/2010/main" val="3227825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465271761"/>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21113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548173707"/>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924050"/>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8. 11. – 29. 11.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1992969" y="6452714"/>
            <a:ext cx="6422106" cy="400110"/>
          </a:xfrm>
          <a:prstGeom prst="rect">
            <a:avLst/>
          </a:prstGeom>
        </p:spPr>
        <p:txBody>
          <a:bodyPr wrap="square">
            <a:spAutoFit/>
          </a:bodyPr>
          <a:lstStyle/>
          <a:p>
            <a:pPr lvl="0">
              <a:defRPr/>
            </a:pPr>
            <a:r>
              <a:rPr kumimoji="0" lang="cs-CZ" sz="1000" b="1" i="0" u="none" strike="noStrike" kern="1200" cap="none" spc="0" normalizeH="0" baseline="0" noProof="0" dirty="0">
                <a:ln>
                  <a:noFill/>
                </a:ln>
                <a:solidFill>
                  <a:srgbClr val="000000"/>
                </a:solidFill>
                <a:effectLst/>
                <a:uLnTx/>
                <a:uFillTx/>
                <a:latin typeface="Arial" panose="020B0604020202020204"/>
                <a:ea typeface="+mn-ea"/>
                <a:cs typeface="+mn-cs"/>
              </a:rPr>
              <a:t>* Od 18. 11. 2020 návrat 1. a 2. tříd do škol, otevření speciálních škol a přípravných </a:t>
            </a:r>
            <a:r>
              <a:rPr lang="cs-CZ" sz="1000" b="1" dirty="0">
                <a:solidFill>
                  <a:srgbClr val="000000"/>
                </a:solidFill>
              </a:rPr>
              <a:t>tříd, </a:t>
            </a:r>
          </a:p>
          <a:p>
            <a:pPr lvl="0">
              <a:defRPr/>
            </a:pPr>
            <a:r>
              <a:rPr lang="cs-CZ" sz="1000" b="1" dirty="0">
                <a:solidFill>
                  <a:srgbClr val="000000"/>
                </a:solidFill>
              </a:rPr>
              <a:t>od 25.11. Návrat studentů posledního ročníku SŠ a VOŠ, vybrané praktické výuky pro VŠ, SŠ, VOŠ</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8458459" y="6557490"/>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6" name="Tabulka 5">
            <a:extLst>
              <a:ext uri="{FF2B5EF4-FFF2-40B4-BE49-F238E27FC236}">
                <a16:creationId xmlns:a16="http://schemas.microsoft.com/office/drawing/2014/main" id="{9AB3DF6A-1A93-4021-B468-BCEC7EEBA3D2}"/>
              </a:ext>
            </a:extLst>
          </p:cNvPr>
          <p:cNvGraphicFramePr>
            <a:graphicFrameLocks noGrp="1"/>
          </p:cNvGraphicFramePr>
          <p:nvPr>
            <p:extLst>
              <p:ext uri="{D42A27DB-BD31-4B8C-83A1-F6EECF244321}">
                <p14:modId xmlns:p14="http://schemas.microsoft.com/office/powerpoint/2010/main" val="755908919"/>
              </p:ext>
            </p:extLst>
          </p:nvPr>
        </p:nvGraphicFramePr>
        <p:xfrm>
          <a:off x="10920888" y="1572133"/>
          <a:ext cx="909162" cy="4896008"/>
        </p:xfrm>
        <a:graphic>
          <a:graphicData uri="http://schemas.openxmlformats.org/drawingml/2006/table">
            <a:tbl>
              <a:tblPr/>
              <a:tblGrid>
                <a:gridCol w="909162">
                  <a:extLst>
                    <a:ext uri="{9D8B030D-6E8A-4147-A177-3AD203B41FA5}">
                      <a16:colId xmlns:a16="http://schemas.microsoft.com/office/drawing/2014/main" val="1938933671"/>
                    </a:ext>
                  </a:extLst>
                </a:gridCol>
              </a:tblGrid>
              <a:tr h="188308">
                <a:tc>
                  <a:txBody>
                    <a:bodyPr/>
                    <a:lstStyle/>
                    <a:p>
                      <a:pPr algn="ctr" fontAlgn="ctr"/>
                      <a:r>
                        <a:rPr lang="cs-CZ" sz="1200" b="1" i="1" u="none" strike="noStrike">
                          <a:solidFill>
                            <a:srgbClr val="000000"/>
                          </a:solidFill>
                          <a:effectLst/>
                          <a:latin typeface="Calibri" panose="020F0502020204030204" pitchFamily="34" charset="0"/>
                        </a:rPr>
                        <a:t>36,6</a:t>
                      </a:r>
                    </a:p>
                  </a:txBody>
                  <a:tcPr marL="9525" marR="9525" marT="0" marB="0" anchor="ctr">
                    <a:lnL>
                      <a:noFill/>
                    </a:lnL>
                    <a:lnR>
                      <a:noFill/>
                    </a:lnR>
                    <a:lnT>
                      <a:noFill/>
                    </a:lnT>
                    <a:lnB>
                      <a:noFill/>
                    </a:lnB>
                    <a:solidFill>
                      <a:srgbClr val="F9716D"/>
                    </a:solidFill>
                  </a:tcPr>
                </a:tc>
                <a:extLst>
                  <a:ext uri="{0D108BD9-81ED-4DB2-BD59-A6C34878D82A}">
                    <a16:rowId xmlns:a16="http://schemas.microsoft.com/office/drawing/2014/main" val="2260768205"/>
                  </a:ext>
                </a:extLst>
              </a:tr>
              <a:tr h="188308">
                <a:tc>
                  <a:txBody>
                    <a:bodyPr/>
                    <a:lstStyle/>
                    <a:p>
                      <a:pPr algn="ctr" fontAlgn="ctr"/>
                      <a:r>
                        <a:rPr lang="cs-CZ" sz="1200" b="1" i="1" u="none" strike="noStrike">
                          <a:solidFill>
                            <a:srgbClr val="000000"/>
                          </a:solidFill>
                          <a:effectLst/>
                          <a:latin typeface="Calibri" panose="020F0502020204030204" pitchFamily="34" charset="0"/>
                        </a:rPr>
                        <a:t>6,4</a:t>
                      </a:r>
                    </a:p>
                  </a:txBody>
                  <a:tcPr marL="9525" marR="9525" marT="0" marB="0" anchor="ctr">
                    <a:lnL>
                      <a:noFill/>
                    </a:lnL>
                    <a:lnR>
                      <a:noFill/>
                    </a:lnR>
                    <a:lnT>
                      <a:noFill/>
                    </a:lnT>
                    <a:lnB>
                      <a:noFill/>
                    </a:lnB>
                    <a:solidFill>
                      <a:srgbClr val="82C77C"/>
                    </a:solidFill>
                  </a:tcPr>
                </a:tc>
                <a:extLst>
                  <a:ext uri="{0D108BD9-81ED-4DB2-BD59-A6C34878D82A}">
                    <a16:rowId xmlns:a16="http://schemas.microsoft.com/office/drawing/2014/main" val="279246117"/>
                  </a:ext>
                </a:extLst>
              </a:tr>
              <a:tr h="188308">
                <a:tc>
                  <a:txBody>
                    <a:bodyPr/>
                    <a:lstStyle/>
                    <a:p>
                      <a:pPr algn="ctr" fontAlgn="ctr"/>
                      <a:r>
                        <a:rPr lang="cs-CZ" sz="1200" b="1" i="1" u="none" strike="noStrike">
                          <a:solidFill>
                            <a:srgbClr val="000000"/>
                          </a:solidFill>
                          <a:effectLst/>
                          <a:latin typeface="Calibri" panose="020F0502020204030204" pitchFamily="34" charset="0"/>
                        </a:rPr>
                        <a:t>38,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3081215789"/>
                  </a:ext>
                </a:extLst>
              </a:tr>
              <a:tr h="188308">
                <a:tc>
                  <a:txBody>
                    <a:bodyPr/>
                    <a:lstStyle/>
                    <a:p>
                      <a:pPr algn="ctr" fontAlgn="ctr"/>
                      <a:r>
                        <a:rPr lang="cs-CZ" sz="1200" b="1" i="1" u="none" strike="noStrike">
                          <a:solidFill>
                            <a:srgbClr val="000000"/>
                          </a:solidFill>
                          <a:effectLst/>
                          <a:latin typeface="Calibri" panose="020F0502020204030204" pitchFamily="34" charset="0"/>
                        </a:rPr>
                        <a:t>8,4</a:t>
                      </a:r>
                    </a:p>
                  </a:txBody>
                  <a:tcPr marL="9525" marR="9525" marT="0" marB="0" anchor="ctr">
                    <a:lnL>
                      <a:noFill/>
                    </a:lnL>
                    <a:lnR>
                      <a:noFill/>
                    </a:lnR>
                    <a:lnT>
                      <a:noFill/>
                    </a:lnT>
                    <a:lnB>
                      <a:noFill/>
                    </a:lnB>
                    <a:solidFill>
                      <a:srgbClr val="B5D57F"/>
                    </a:solidFill>
                  </a:tcPr>
                </a:tc>
                <a:extLst>
                  <a:ext uri="{0D108BD9-81ED-4DB2-BD59-A6C34878D82A}">
                    <a16:rowId xmlns:a16="http://schemas.microsoft.com/office/drawing/2014/main" val="1355531904"/>
                  </a:ext>
                </a:extLst>
              </a:tr>
              <a:tr h="188308">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F3E783"/>
                    </a:solidFill>
                  </a:tcPr>
                </a:tc>
                <a:extLst>
                  <a:ext uri="{0D108BD9-81ED-4DB2-BD59-A6C34878D82A}">
                    <a16:rowId xmlns:a16="http://schemas.microsoft.com/office/drawing/2014/main" val="207790228"/>
                  </a:ext>
                </a:extLst>
              </a:tr>
              <a:tr h="188308">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FFE483"/>
                    </a:solidFill>
                  </a:tcPr>
                </a:tc>
                <a:extLst>
                  <a:ext uri="{0D108BD9-81ED-4DB2-BD59-A6C34878D82A}">
                    <a16:rowId xmlns:a16="http://schemas.microsoft.com/office/drawing/2014/main" val="49884561"/>
                  </a:ext>
                </a:extLst>
              </a:tr>
              <a:tr h="188308">
                <a:tc>
                  <a:txBody>
                    <a:bodyPr/>
                    <a:lstStyle/>
                    <a:p>
                      <a:pPr algn="ctr" fontAlgn="ctr"/>
                      <a:r>
                        <a:rPr lang="cs-CZ" sz="1200" b="1" i="1" u="none" strike="noStrike">
                          <a:solidFill>
                            <a:srgbClr val="000000"/>
                          </a:solidFill>
                          <a:effectLst/>
                          <a:latin typeface="Calibri" panose="020F0502020204030204" pitchFamily="34" charset="0"/>
                        </a:rPr>
                        <a:t>8,0</a:t>
                      </a:r>
                    </a:p>
                  </a:txBody>
                  <a:tcPr marL="9525" marR="9525" marT="0" marB="0" anchor="ctr">
                    <a:lnL>
                      <a:noFill/>
                    </a:lnL>
                    <a:lnR>
                      <a:noFill/>
                    </a:lnR>
                    <a:lnT>
                      <a:noFill/>
                    </a:lnT>
                    <a:lnB>
                      <a:noFill/>
                    </a:lnB>
                    <a:solidFill>
                      <a:srgbClr val="ABD27F"/>
                    </a:solidFill>
                  </a:tcPr>
                </a:tc>
                <a:extLst>
                  <a:ext uri="{0D108BD9-81ED-4DB2-BD59-A6C34878D82A}">
                    <a16:rowId xmlns:a16="http://schemas.microsoft.com/office/drawing/2014/main" val="3925280546"/>
                  </a:ext>
                </a:extLst>
              </a:tr>
              <a:tr h="188308">
                <a:tc>
                  <a:txBody>
                    <a:bodyPr/>
                    <a:lstStyle/>
                    <a:p>
                      <a:pPr algn="ctr" fontAlgn="ctr"/>
                      <a:r>
                        <a:rPr lang="cs-CZ" sz="1200" b="1" i="1" u="none" strike="noStrike">
                          <a:solidFill>
                            <a:srgbClr val="000000"/>
                          </a:solidFill>
                          <a:effectLst/>
                          <a:latin typeface="Calibri" panose="020F0502020204030204" pitchFamily="34" charset="0"/>
                        </a:rPr>
                        <a:t>5,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583368311"/>
                  </a:ext>
                </a:extLst>
              </a:tr>
              <a:tr h="188308">
                <a:tc>
                  <a:txBody>
                    <a:bodyPr/>
                    <a:lstStyle/>
                    <a:p>
                      <a:pPr algn="ctr" fontAlgn="ctr"/>
                      <a:r>
                        <a:rPr lang="cs-CZ" sz="1200" b="1" i="1" u="none" strike="noStrike">
                          <a:solidFill>
                            <a:srgbClr val="000000"/>
                          </a:solidFill>
                          <a:effectLst/>
                          <a:latin typeface="Calibri" panose="020F0502020204030204" pitchFamily="34" charset="0"/>
                        </a:rPr>
                        <a:t>6,0</a:t>
                      </a:r>
                    </a:p>
                  </a:txBody>
                  <a:tcPr marL="9525" marR="9525" marT="0" marB="0" anchor="ctr">
                    <a:lnL>
                      <a:noFill/>
                    </a:lnL>
                    <a:lnR>
                      <a:noFill/>
                    </a:lnR>
                    <a:lnT>
                      <a:noFill/>
                    </a:lnT>
                    <a:lnB>
                      <a:noFill/>
                    </a:lnB>
                    <a:solidFill>
                      <a:srgbClr val="7BC47C"/>
                    </a:solidFill>
                  </a:tcPr>
                </a:tc>
                <a:extLst>
                  <a:ext uri="{0D108BD9-81ED-4DB2-BD59-A6C34878D82A}">
                    <a16:rowId xmlns:a16="http://schemas.microsoft.com/office/drawing/2014/main" val="788809035"/>
                  </a:ext>
                </a:extLst>
              </a:tr>
              <a:tr h="188308">
                <a:tc>
                  <a:txBody>
                    <a:bodyPr/>
                    <a:lstStyle/>
                    <a:p>
                      <a:pPr algn="ctr" fontAlgn="ctr"/>
                      <a:r>
                        <a:rPr lang="cs-CZ" sz="1200" b="1" i="1" u="none" strike="noStrike">
                          <a:solidFill>
                            <a:srgbClr val="000000"/>
                          </a:solidFill>
                          <a:effectLst/>
                          <a:latin typeface="Calibri" panose="020F0502020204030204" pitchFamily="34" charset="0"/>
                        </a:rPr>
                        <a:t>29,0</a:t>
                      </a:r>
                    </a:p>
                  </a:txBody>
                  <a:tcPr marL="9525" marR="9525" marT="0" marB="0" anchor="ctr">
                    <a:lnL>
                      <a:noFill/>
                    </a:lnL>
                    <a:lnR>
                      <a:noFill/>
                    </a:lnR>
                    <a:lnT>
                      <a:noFill/>
                    </a:lnT>
                    <a:lnB>
                      <a:noFill/>
                    </a:lnB>
                    <a:solidFill>
                      <a:srgbClr val="FB9674"/>
                    </a:solidFill>
                  </a:tcPr>
                </a:tc>
                <a:extLst>
                  <a:ext uri="{0D108BD9-81ED-4DB2-BD59-A6C34878D82A}">
                    <a16:rowId xmlns:a16="http://schemas.microsoft.com/office/drawing/2014/main" val="3825019742"/>
                  </a:ext>
                </a:extLst>
              </a:tr>
              <a:tr h="188308">
                <a:tc>
                  <a:txBody>
                    <a:bodyPr/>
                    <a:lstStyle/>
                    <a:p>
                      <a:pPr algn="ctr" fontAlgn="ctr"/>
                      <a:r>
                        <a:rPr lang="cs-CZ" sz="1200" b="1" i="1" u="none" strike="noStrike">
                          <a:solidFill>
                            <a:srgbClr val="000000"/>
                          </a:solidFill>
                          <a:effectLst/>
                          <a:latin typeface="Calibri" panose="020F0502020204030204" pitchFamily="34" charset="0"/>
                        </a:rPr>
                        <a:t>22,0</a:t>
                      </a:r>
                    </a:p>
                  </a:txBody>
                  <a:tcPr marL="9525" marR="9525" marT="0" marB="0" anchor="ctr">
                    <a:lnL>
                      <a:noFill/>
                    </a:lnL>
                    <a:lnR>
                      <a:noFill/>
                    </a:lnR>
                    <a:lnT>
                      <a:noFill/>
                    </a:lnT>
                    <a:lnB>
                      <a:noFill/>
                    </a:lnB>
                    <a:solidFill>
                      <a:srgbClr val="FDB87B"/>
                    </a:solidFill>
                  </a:tcPr>
                </a:tc>
                <a:extLst>
                  <a:ext uri="{0D108BD9-81ED-4DB2-BD59-A6C34878D82A}">
                    <a16:rowId xmlns:a16="http://schemas.microsoft.com/office/drawing/2014/main" val="3650220335"/>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18485012"/>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5523122"/>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378788543"/>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620284512"/>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90860006"/>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30084694"/>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692201318"/>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264509379"/>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303146475"/>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96656551"/>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168881477"/>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52187303"/>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33042660"/>
                  </a:ext>
                </a:extLst>
              </a:tr>
              <a:tr h="188308">
                <a:tc>
                  <a:txBody>
                    <a:bodyPr/>
                    <a:lstStyle/>
                    <a:p>
                      <a:pPr algn="ctr" fontAlgn="ctr"/>
                      <a:r>
                        <a:rPr lang="cs-CZ" sz="1200" b="1" i="1" u="none" strike="noStrike">
                          <a:solidFill>
                            <a:srgbClr val="000000"/>
                          </a:solidFill>
                          <a:effectLst/>
                          <a:latin typeface="Calibri" panose="020F0502020204030204" pitchFamily="34" charset="0"/>
                        </a:rPr>
                        <a:t>12,0</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1024195788"/>
                  </a:ext>
                </a:extLst>
              </a:tr>
              <a:tr h="188308">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52680256"/>
                  </a:ext>
                </a:extLst>
              </a:tr>
            </a:tbl>
          </a:graphicData>
        </a:graphic>
      </p:graphicFrame>
    </p:spTree>
    <p:extLst>
      <p:ext uri="{BB962C8B-B14F-4D97-AF65-F5344CB8AC3E}">
        <p14:creationId xmlns:p14="http://schemas.microsoft.com/office/powerpoint/2010/main" val="1945151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42562725"/>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08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359564428"/>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30. 11. – 20. 12.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59393" y="6557489"/>
            <a:ext cx="9714070"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Od 30. 11. 2020 </a:t>
            </a:r>
            <a:r>
              <a:rPr lang="cs-CZ" sz="1200" b="1" dirty="0">
                <a:solidFill>
                  <a:srgbClr val="000000"/>
                </a:solidFill>
              </a:rPr>
              <a:t>návrat zbytku ZŠ, 6. – 8. třídy v rotačním režimu, od 7.12. návrat zbytku ročníků středních škol v rotačním režimu </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6" name="Tabulka 5">
            <a:extLst>
              <a:ext uri="{FF2B5EF4-FFF2-40B4-BE49-F238E27FC236}">
                <a16:creationId xmlns:a16="http://schemas.microsoft.com/office/drawing/2014/main" id="{DBCBEBE4-EE05-446F-94D3-4FE2795DDFCB}"/>
              </a:ext>
            </a:extLst>
          </p:cNvPr>
          <p:cNvGraphicFramePr>
            <a:graphicFrameLocks noGrp="1"/>
          </p:cNvGraphicFramePr>
          <p:nvPr>
            <p:extLst>
              <p:ext uri="{D42A27DB-BD31-4B8C-83A1-F6EECF244321}">
                <p14:modId xmlns:p14="http://schemas.microsoft.com/office/powerpoint/2010/main" val="2804413754"/>
              </p:ext>
            </p:extLst>
          </p:nvPr>
        </p:nvGraphicFramePr>
        <p:xfrm>
          <a:off x="10920888" y="1572138"/>
          <a:ext cx="899637" cy="4886466"/>
        </p:xfrm>
        <a:graphic>
          <a:graphicData uri="http://schemas.openxmlformats.org/drawingml/2006/table">
            <a:tbl>
              <a:tblPr/>
              <a:tblGrid>
                <a:gridCol w="899637">
                  <a:extLst>
                    <a:ext uri="{9D8B030D-6E8A-4147-A177-3AD203B41FA5}">
                      <a16:colId xmlns:a16="http://schemas.microsoft.com/office/drawing/2014/main" val="1922214520"/>
                    </a:ext>
                  </a:extLst>
                </a:gridCol>
              </a:tblGrid>
              <a:tr h="187941">
                <a:tc>
                  <a:txBody>
                    <a:bodyPr/>
                    <a:lstStyle/>
                    <a:p>
                      <a:pPr algn="ctr" fontAlgn="ctr"/>
                      <a:r>
                        <a:rPr lang="cs-CZ" sz="1200" b="1" i="1" u="none" strike="noStrike">
                          <a:solidFill>
                            <a:srgbClr val="000000"/>
                          </a:solidFill>
                          <a:effectLst/>
                          <a:latin typeface="Calibri" panose="020F0502020204030204" pitchFamily="34" charset="0"/>
                        </a:rPr>
                        <a:t>5,7</a:t>
                      </a:r>
                    </a:p>
                  </a:txBody>
                  <a:tcPr marL="9525" marR="9525" marT="0" marB="0" anchor="ctr">
                    <a:lnL>
                      <a:noFill/>
                    </a:lnL>
                    <a:lnR>
                      <a:noFill/>
                    </a:lnR>
                    <a:lnT>
                      <a:noFill/>
                    </a:lnT>
                    <a:lnB>
                      <a:noFill/>
                    </a:lnB>
                    <a:solidFill>
                      <a:srgbClr val="89C97D"/>
                    </a:solidFill>
                  </a:tcPr>
                </a:tc>
                <a:extLst>
                  <a:ext uri="{0D108BD9-81ED-4DB2-BD59-A6C34878D82A}">
                    <a16:rowId xmlns:a16="http://schemas.microsoft.com/office/drawing/2014/main" val="2198626886"/>
                  </a:ext>
                </a:extLst>
              </a:tr>
              <a:tr h="187941">
                <a:tc>
                  <a:txBody>
                    <a:bodyPr/>
                    <a:lstStyle/>
                    <a:p>
                      <a:pPr algn="ctr" fontAlgn="ctr"/>
                      <a:r>
                        <a:rPr lang="cs-CZ" sz="1200" b="1" i="1" u="none" strike="noStrike">
                          <a:solidFill>
                            <a:srgbClr val="000000"/>
                          </a:solidFill>
                          <a:effectLst/>
                          <a:latin typeface="Calibri" panose="020F0502020204030204" pitchFamily="34" charset="0"/>
                        </a:rPr>
                        <a:t>42,8</a:t>
                      </a:r>
                    </a:p>
                  </a:txBody>
                  <a:tcPr marL="9525" marR="9525" marT="0" marB="0" anchor="ctr">
                    <a:lnL>
                      <a:noFill/>
                    </a:lnL>
                    <a:lnR>
                      <a:noFill/>
                    </a:lnR>
                    <a:lnT>
                      <a:noFill/>
                    </a:lnT>
                    <a:lnB>
                      <a:noFill/>
                    </a:lnB>
                    <a:solidFill>
                      <a:srgbClr val="FFDA81"/>
                    </a:solidFill>
                  </a:tcPr>
                </a:tc>
                <a:extLst>
                  <a:ext uri="{0D108BD9-81ED-4DB2-BD59-A6C34878D82A}">
                    <a16:rowId xmlns:a16="http://schemas.microsoft.com/office/drawing/2014/main" val="2498555433"/>
                  </a:ext>
                </a:extLst>
              </a:tr>
              <a:tr h="187941">
                <a:tc>
                  <a:txBody>
                    <a:bodyPr/>
                    <a:lstStyle/>
                    <a:p>
                      <a:pPr algn="ctr" fontAlgn="ctr"/>
                      <a:r>
                        <a:rPr lang="cs-CZ" sz="1200" b="1" i="1" u="none" strike="noStrike">
                          <a:solidFill>
                            <a:srgbClr val="000000"/>
                          </a:solidFill>
                          <a:effectLst/>
                          <a:latin typeface="Calibri" panose="020F0502020204030204" pitchFamily="34" charset="0"/>
                        </a:rPr>
                        <a:t>28,1</a:t>
                      </a:r>
                    </a:p>
                  </a:txBody>
                  <a:tcPr marL="9525" marR="9525" marT="0" marB="0" anchor="ctr">
                    <a:lnL>
                      <a:noFill/>
                    </a:lnL>
                    <a:lnR>
                      <a:noFill/>
                    </a:lnR>
                    <a:lnT>
                      <a:noFill/>
                    </a:lnT>
                    <a:lnB>
                      <a:noFill/>
                    </a:lnB>
                    <a:solidFill>
                      <a:srgbClr val="FFE383"/>
                    </a:solidFill>
                  </a:tcPr>
                </a:tc>
                <a:extLst>
                  <a:ext uri="{0D108BD9-81ED-4DB2-BD59-A6C34878D82A}">
                    <a16:rowId xmlns:a16="http://schemas.microsoft.com/office/drawing/2014/main" val="3839099071"/>
                  </a:ext>
                </a:extLst>
              </a:tr>
              <a:tr h="187941">
                <a:tc>
                  <a:txBody>
                    <a:bodyPr/>
                    <a:lstStyle/>
                    <a:p>
                      <a:pPr algn="ctr" fontAlgn="ctr"/>
                      <a:r>
                        <a:rPr lang="cs-CZ" sz="1200" b="1" i="1" u="none" strike="noStrike">
                          <a:solidFill>
                            <a:srgbClr val="000000"/>
                          </a:solidFill>
                          <a:effectLst/>
                          <a:latin typeface="Calibri" panose="020F0502020204030204" pitchFamily="34" charset="0"/>
                        </a:rPr>
                        <a:t>18,7</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3725716057"/>
                  </a:ext>
                </a:extLst>
              </a:tr>
              <a:tr h="187941">
                <a:tc>
                  <a:txBody>
                    <a:bodyPr/>
                    <a:lstStyle/>
                    <a:p>
                      <a:pPr algn="ctr" fontAlgn="ctr"/>
                      <a:r>
                        <a:rPr lang="cs-CZ" sz="1200" b="1" i="1" u="none" strike="noStrike">
                          <a:solidFill>
                            <a:srgbClr val="000000"/>
                          </a:solidFill>
                          <a:effectLst/>
                          <a:latin typeface="Calibri" panose="020F0502020204030204" pitchFamily="34" charset="0"/>
                        </a:rPr>
                        <a:t>11,4</a:t>
                      </a:r>
                    </a:p>
                  </a:txBody>
                  <a:tcPr marL="9525" marR="9525" marT="0" marB="0" anchor="ctr">
                    <a:lnL>
                      <a:noFill/>
                    </a:lnL>
                    <a:lnR>
                      <a:noFill/>
                    </a:lnR>
                    <a:lnT>
                      <a:noFill/>
                    </a:lnT>
                    <a:lnB>
                      <a:noFill/>
                    </a:lnB>
                    <a:solidFill>
                      <a:srgbClr val="DAE081"/>
                    </a:solidFill>
                  </a:tcPr>
                </a:tc>
                <a:extLst>
                  <a:ext uri="{0D108BD9-81ED-4DB2-BD59-A6C34878D82A}">
                    <a16:rowId xmlns:a16="http://schemas.microsoft.com/office/drawing/2014/main" val="3066847893"/>
                  </a:ext>
                </a:extLst>
              </a:tr>
              <a:tr h="187941">
                <a:tc>
                  <a:txBody>
                    <a:bodyPr/>
                    <a:lstStyle/>
                    <a:p>
                      <a:pPr algn="ctr" fontAlgn="ctr"/>
                      <a:r>
                        <a:rPr lang="cs-CZ" sz="1200" b="1" i="1" u="none" strike="noStrike">
                          <a:solidFill>
                            <a:srgbClr val="000000"/>
                          </a:solidFill>
                          <a:effectLst/>
                          <a:latin typeface="Calibri" panose="020F0502020204030204" pitchFamily="34" charset="0"/>
                        </a:rPr>
                        <a:t>9,3</a:t>
                      </a:r>
                    </a:p>
                  </a:txBody>
                  <a:tcPr marL="9525" marR="9525" marT="0" marB="0" anchor="ctr">
                    <a:lnL>
                      <a:noFill/>
                    </a:lnL>
                    <a:lnR>
                      <a:noFill/>
                    </a:lnR>
                    <a:lnT>
                      <a:noFill/>
                    </a:lnT>
                    <a:lnB>
                      <a:noFill/>
                    </a:lnB>
                    <a:solidFill>
                      <a:srgbClr val="BBD780"/>
                    </a:solidFill>
                  </a:tcPr>
                </a:tc>
                <a:extLst>
                  <a:ext uri="{0D108BD9-81ED-4DB2-BD59-A6C34878D82A}">
                    <a16:rowId xmlns:a16="http://schemas.microsoft.com/office/drawing/2014/main" val="526981221"/>
                  </a:ext>
                </a:extLst>
              </a:tr>
              <a:tr h="187941">
                <a:tc>
                  <a:txBody>
                    <a:bodyPr/>
                    <a:lstStyle/>
                    <a:p>
                      <a:pPr algn="ctr" fontAlgn="ctr"/>
                      <a:r>
                        <a:rPr lang="cs-CZ" sz="1200" b="1" i="1" u="none" strike="noStrike">
                          <a:solidFill>
                            <a:srgbClr val="000000"/>
                          </a:solidFill>
                          <a:effectLst/>
                          <a:latin typeface="Calibri" panose="020F0502020204030204" pitchFamily="34" charset="0"/>
                        </a:rPr>
                        <a:t>142,7</a:t>
                      </a:r>
                    </a:p>
                  </a:txBody>
                  <a:tcPr marL="9525" marR="9525" marT="0" marB="0" anchor="ctr">
                    <a:lnL>
                      <a:noFill/>
                    </a:lnL>
                    <a:lnR>
                      <a:noFill/>
                    </a:lnR>
                    <a:lnT>
                      <a:noFill/>
                    </a:lnT>
                    <a:lnB>
                      <a:noFill/>
                    </a:lnB>
                    <a:solidFill>
                      <a:srgbClr val="FB9F76"/>
                    </a:solidFill>
                  </a:tcPr>
                </a:tc>
                <a:extLst>
                  <a:ext uri="{0D108BD9-81ED-4DB2-BD59-A6C34878D82A}">
                    <a16:rowId xmlns:a16="http://schemas.microsoft.com/office/drawing/2014/main" val="3090451583"/>
                  </a:ext>
                </a:extLst>
              </a:tr>
              <a:tr h="187941">
                <a:tc>
                  <a:txBody>
                    <a:bodyPr/>
                    <a:lstStyle/>
                    <a:p>
                      <a:pPr algn="ctr" fontAlgn="ctr"/>
                      <a:r>
                        <a:rPr lang="cs-CZ" sz="1200" b="1" i="1" u="none" strike="noStrike">
                          <a:solidFill>
                            <a:srgbClr val="000000"/>
                          </a:solidFill>
                          <a:effectLst/>
                          <a:latin typeface="Calibri" panose="020F0502020204030204" pitchFamily="34" charset="0"/>
                        </a:rPr>
                        <a:t>10,5</a:t>
                      </a:r>
                    </a:p>
                  </a:txBody>
                  <a:tcPr marL="9525" marR="9525" marT="0" marB="0" anchor="ctr">
                    <a:lnL>
                      <a:noFill/>
                    </a:lnL>
                    <a:lnR>
                      <a:noFill/>
                    </a:lnR>
                    <a:lnT>
                      <a:noFill/>
                    </a:lnT>
                    <a:lnB>
                      <a:noFill/>
                    </a:lnB>
                    <a:solidFill>
                      <a:srgbClr val="CDDC81"/>
                    </a:solidFill>
                  </a:tcPr>
                </a:tc>
                <a:extLst>
                  <a:ext uri="{0D108BD9-81ED-4DB2-BD59-A6C34878D82A}">
                    <a16:rowId xmlns:a16="http://schemas.microsoft.com/office/drawing/2014/main" val="812472086"/>
                  </a:ext>
                </a:extLst>
              </a:tr>
              <a:tr h="187941">
                <a:tc>
                  <a:txBody>
                    <a:bodyPr/>
                    <a:lstStyle/>
                    <a:p>
                      <a:pPr algn="ctr" fontAlgn="ctr"/>
                      <a:r>
                        <a:rPr lang="cs-CZ" sz="1200" b="1" i="1" u="none" strike="noStrike">
                          <a:solidFill>
                            <a:srgbClr val="000000"/>
                          </a:solidFill>
                          <a:effectLst/>
                          <a:latin typeface="Calibri" panose="020F0502020204030204" pitchFamily="34" charset="0"/>
                        </a:rPr>
                        <a:t>247,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508205652"/>
                  </a:ext>
                </a:extLst>
              </a:tr>
              <a:tr h="187941">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353356495"/>
                  </a:ext>
                </a:extLst>
              </a:tr>
              <a:tr h="187941">
                <a:tc>
                  <a:txBody>
                    <a:bodyPr/>
                    <a:lstStyle/>
                    <a:p>
                      <a:pPr algn="ctr" fontAlgn="ctr"/>
                      <a:r>
                        <a:rPr lang="cs-CZ" sz="1200" b="1" i="1" u="none" strike="noStrike">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902219943"/>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92732593"/>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863945041"/>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687211540"/>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892532882"/>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832032309"/>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590656932"/>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713929154"/>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922758985"/>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83902741"/>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078644135"/>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069241722"/>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068979856"/>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029891348"/>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845219505"/>
                  </a:ext>
                </a:extLst>
              </a:tr>
              <a:tr h="187941">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02725913"/>
                  </a:ext>
                </a:extLst>
              </a:tr>
            </a:tbl>
          </a:graphicData>
        </a:graphic>
      </p:graphicFrame>
    </p:spTree>
    <p:extLst>
      <p:ext uri="{BB962C8B-B14F-4D97-AF65-F5344CB8AC3E}">
        <p14:creationId xmlns:p14="http://schemas.microsoft.com/office/powerpoint/2010/main" val="3145924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3291718055"/>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08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548975372"/>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21. 12. 2020 – 28. 2.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3905189" y="6557489"/>
            <a:ext cx="4241867"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21. 12. 2020 do 3. 1. 2021 vánoční školní prázdniny</a:t>
            </a: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5" name="Tabulka 4">
            <a:extLst>
              <a:ext uri="{FF2B5EF4-FFF2-40B4-BE49-F238E27FC236}">
                <a16:creationId xmlns:a16="http://schemas.microsoft.com/office/drawing/2014/main" id="{A6F67FDE-5D66-4461-B646-AD34D0025DB8}"/>
              </a:ext>
            </a:extLst>
          </p:cNvPr>
          <p:cNvGraphicFramePr>
            <a:graphicFrameLocks noGrp="1"/>
          </p:cNvGraphicFramePr>
          <p:nvPr>
            <p:extLst>
              <p:ext uri="{D42A27DB-BD31-4B8C-83A1-F6EECF244321}">
                <p14:modId xmlns:p14="http://schemas.microsoft.com/office/powerpoint/2010/main" val="4186145518"/>
              </p:ext>
            </p:extLst>
          </p:nvPr>
        </p:nvGraphicFramePr>
        <p:xfrm>
          <a:off x="10920888" y="1572128"/>
          <a:ext cx="852012" cy="4884022"/>
        </p:xfrm>
        <a:graphic>
          <a:graphicData uri="http://schemas.openxmlformats.org/drawingml/2006/table">
            <a:tbl>
              <a:tblPr/>
              <a:tblGrid>
                <a:gridCol w="852012">
                  <a:extLst>
                    <a:ext uri="{9D8B030D-6E8A-4147-A177-3AD203B41FA5}">
                      <a16:colId xmlns:a16="http://schemas.microsoft.com/office/drawing/2014/main" val="3597890132"/>
                    </a:ext>
                  </a:extLst>
                </a:gridCol>
              </a:tblGrid>
              <a:tr h="187847">
                <a:tc>
                  <a:txBody>
                    <a:bodyPr/>
                    <a:lstStyle/>
                    <a:p>
                      <a:pPr algn="ctr" fontAlgn="ctr"/>
                      <a:r>
                        <a:rPr lang="cs-CZ" sz="1200" b="1" i="1" u="none" strike="noStrike">
                          <a:solidFill>
                            <a:srgbClr val="000000"/>
                          </a:solidFill>
                          <a:effectLst/>
                          <a:latin typeface="Calibri" panose="020F0502020204030204" pitchFamily="34" charset="0"/>
                        </a:rPr>
                        <a:t>4,8</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759346378"/>
                  </a:ext>
                </a:extLst>
              </a:tr>
              <a:tr h="187847">
                <a:tc>
                  <a:txBody>
                    <a:bodyPr/>
                    <a:lstStyle/>
                    <a:p>
                      <a:pPr algn="ctr" fontAlgn="ctr"/>
                      <a:r>
                        <a:rPr lang="cs-CZ" sz="1200" b="1" i="1" u="none" strike="noStrike">
                          <a:solidFill>
                            <a:srgbClr val="000000"/>
                          </a:solidFill>
                          <a:effectLst/>
                          <a:latin typeface="Calibri" panose="020F0502020204030204" pitchFamily="34" charset="0"/>
                        </a:rPr>
                        <a:t>31,0</a:t>
                      </a:r>
                    </a:p>
                  </a:txBody>
                  <a:tcPr marL="9525" marR="9525" marT="0" marB="0" anchor="ctr">
                    <a:lnL>
                      <a:noFill/>
                    </a:lnL>
                    <a:lnR>
                      <a:noFill/>
                    </a:lnR>
                    <a:lnT>
                      <a:noFill/>
                    </a:lnT>
                    <a:lnB>
                      <a:noFill/>
                    </a:lnB>
                    <a:solidFill>
                      <a:srgbClr val="FFDC82"/>
                    </a:solidFill>
                  </a:tcPr>
                </a:tc>
                <a:extLst>
                  <a:ext uri="{0D108BD9-81ED-4DB2-BD59-A6C34878D82A}">
                    <a16:rowId xmlns:a16="http://schemas.microsoft.com/office/drawing/2014/main" val="2400680002"/>
                  </a:ext>
                </a:extLst>
              </a:tr>
              <a:tr h="187847">
                <a:tc>
                  <a:txBody>
                    <a:bodyPr/>
                    <a:lstStyle/>
                    <a:p>
                      <a:pPr algn="ctr" fontAlgn="ctr"/>
                      <a:r>
                        <a:rPr lang="cs-CZ" sz="1200" b="1" i="1" u="none" strike="noStrike">
                          <a:solidFill>
                            <a:srgbClr val="000000"/>
                          </a:solidFill>
                          <a:effectLst/>
                          <a:latin typeface="Calibri" panose="020F0502020204030204" pitchFamily="34" charset="0"/>
                        </a:rPr>
                        <a:t>14,9</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2672083418"/>
                  </a:ext>
                </a:extLst>
              </a:tr>
              <a:tr h="187847">
                <a:tc>
                  <a:txBody>
                    <a:bodyPr/>
                    <a:lstStyle/>
                    <a:p>
                      <a:pPr algn="ctr" fontAlgn="ctr"/>
                      <a:r>
                        <a:rPr lang="cs-CZ" sz="1200" b="1" i="1" u="none" strike="noStrike">
                          <a:solidFill>
                            <a:srgbClr val="000000"/>
                          </a:solidFill>
                          <a:effectLst/>
                          <a:latin typeface="Calibri" panose="020F0502020204030204" pitchFamily="34" charset="0"/>
                        </a:rPr>
                        <a:t>32,5</a:t>
                      </a:r>
                    </a:p>
                  </a:txBody>
                  <a:tcPr marL="9525" marR="9525" marT="0" marB="0" anchor="ctr">
                    <a:lnL>
                      <a:noFill/>
                    </a:lnL>
                    <a:lnR>
                      <a:noFill/>
                    </a:lnR>
                    <a:lnT>
                      <a:noFill/>
                    </a:lnT>
                    <a:lnB>
                      <a:noFill/>
                    </a:lnB>
                    <a:solidFill>
                      <a:srgbClr val="FFDB81"/>
                    </a:solidFill>
                  </a:tcPr>
                </a:tc>
                <a:extLst>
                  <a:ext uri="{0D108BD9-81ED-4DB2-BD59-A6C34878D82A}">
                    <a16:rowId xmlns:a16="http://schemas.microsoft.com/office/drawing/2014/main" val="2594627907"/>
                  </a:ext>
                </a:extLst>
              </a:tr>
              <a:tr h="187847">
                <a:tc>
                  <a:txBody>
                    <a:bodyPr/>
                    <a:lstStyle/>
                    <a:p>
                      <a:pPr algn="ctr" fontAlgn="ctr"/>
                      <a:r>
                        <a:rPr lang="cs-CZ" sz="1200" b="1" i="1" u="none" strike="noStrike">
                          <a:solidFill>
                            <a:srgbClr val="000000"/>
                          </a:solidFill>
                          <a:effectLst/>
                          <a:latin typeface="Calibri" panose="020F0502020204030204" pitchFamily="34" charset="0"/>
                        </a:rPr>
                        <a:t>15,6</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2208470359"/>
                  </a:ext>
                </a:extLst>
              </a:tr>
              <a:tr h="187847">
                <a:tc>
                  <a:txBody>
                    <a:bodyPr/>
                    <a:lstStyle/>
                    <a:p>
                      <a:pPr algn="ctr" fontAlgn="ctr"/>
                      <a:r>
                        <a:rPr lang="cs-CZ" sz="1200" b="1" i="1" u="none" strike="noStrike">
                          <a:solidFill>
                            <a:srgbClr val="000000"/>
                          </a:solidFill>
                          <a:effectLst/>
                          <a:latin typeface="Calibri" panose="020F0502020204030204" pitchFamily="34" charset="0"/>
                        </a:rPr>
                        <a:t>36,1</a:t>
                      </a:r>
                    </a:p>
                  </a:txBody>
                  <a:tcPr marL="9525" marR="9525" marT="0" marB="0" anchor="ctr">
                    <a:lnL>
                      <a:noFill/>
                    </a:lnL>
                    <a:lnR>
                      <a:noFill/>
                    </a:lnR>
                    <a:lnT>
                      <a:noFill/>
                    </a:lnT>
                    <a:lnB>
                      <a:noFill/>
                    </a:lnB>
                    <a:solidFill>
                      <a:srgbClr val="FED881"/>
                    </a:solidFill>
                  </a:tcPr>
                </a:tc>
                <a:extLst>
                  <a:ext uri="{0D108BD9-81ED-4DB2-BD59-A6C34878D82A}">
                    <a16:rowId xmlns:a16="http://schemas.microsoft.com/office/drawing/2014/main" val="1069843067"/>
                  </a:ext>
                </a:extLst>
              </a:tr>
              <a:tr h="187847">
                <a:tc>
                  <a:txBody>
                    <a:bodyPr/>
                    <a:lstStyle/>
                    <a:p>
                      <a:pPr algn="ctr" fontAlgn="ctr"/>
                      <a:r>
                        <a:rPr lang="cs-CZ" sz="1200" b="1" i="1" u="none" strike="noStrike">
                          <a:solidFill>
                            <a:srgbClr val="000000"/>
                          </a:solidFill>
                          <a:effectLst/>
                          <a:latin typeface="Calibri" panose="020F0502020204030204" pitchFamily="34" charset="0"/>
                        </a:rPr>
                        <a:t>11,1</a:t>
                      </a:r>
                    </a:p>
                  </a:txBody>
                  <a:tcPr marL="9525" marR="9525" marT="0" marB="0" anchor="ctr">
                    <a:lnL>
                      <a:noFill/>
                    </a:lnL>
                    <a:lnR>
                      <a:noFill/>
                    </a:lnR>
                    <a:lnT>
                      <a:noFill/>
                    </a:lnT>
                    <a:lnB>
                      <a:noFill/>
                    </a:lnB>
                    <a:solidFill>
                      <a:srgbClr val="C3D980"/>
                    </a:solidFill>
                  </a:tcPr>
                </a:tc>
                <a:extLst>
                  <a:ext uri="{0D108BD9-81ED-4DB2-BD59-A6C34878D82A}">
                    <a16:rowId xmlns:a16="http://schemas.microsoft.com/office/drawing/2014/main" val="661402409"/>
                  </a:ext>
                </a:extLst>
              </a:tr>
              <a:tr h="187847">
                <a:tc>
                  <a:txBody>
                    <a:bodyPr/>
                    <a:lstStyle/>
                    <a:p>
                      <a:pPr algn="ctr" fontAlgn="ctr"/>
                      <a:r>
                        <a:rPr lang="cs-CZ" sz="1200" b="1" i="1" u="none" strike="noStrike">
                          <a:solidFill>
                            <a:srgbClr val="000000"/>
                          </a:solidFill>
                          <a:effectLst/>
                          <a:latin typeface="Calibri" panose="020F0502020204030204" pitchFamily="34" charset="0"/>
                        </a:rPr>
                        <a:t>153,8</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513494187"/>
                  </a:ext>
                </a:extLst>
              </a:tr>
              <a:tr h="187847">
                <a:tc>
                  <a:txBody>
                    <a:bodyPr/>
                    <a:lstStyle/>
                    <a:p>
                      <a:pPr algn="ctr" fontAlgn="ctr"/>
                      <a:r>
                        <a:rPr lang="cs-CZ" sz="1200" b="1" i="1" u="none" strike="noStrike">
                          <a:solidFill>
                            <a:srgbClr val="000000"/>
                          </a:solidFill>
                          <a:effectLst/>
                          <a:latin typeface="Calibri" panose="020F0502020204030204" pitchFamily="34" charset="0"/>
                        </a:rPr>
                        <a:t>25,0</a:t>
                      </a:r>
                    </a:p>
                  </a:txBody>
                  <a:tcPr marL="9525" marR="9525" marT="0" marB="0" anchor="ctr">
                    <a:lnL>
                      <a:noFill/>
                    </a:lnL>
                    <a:lnR>
                      <a:noFill/>
                    </a:lnR>
                    <a:lnT>
                      <a:noFill/>
                    </a:lnT>
                    <a:lnB>
                      <a:noFill/>
                    </a:lnB>
                    <a:solidFill>
                      <a:srgbClr val="FFE283"/>
                    </a:solidFill>
                  </a:tcPr>
                </a:tc>
                <a:extLst>
                  <a:ext uri="{0D108BD9-81ED-4DB2-BD59-A6C34878D82A}">
                    <a16:rowId xmlns:a16="http://schemas.microsoft.com/office/drawing/2014/main" val="4294699784"/>
                  </a:ext>
                </a:extLst>
              </a:tr>
              <a:tr h="187847">
                <a:tc>
                  <a:txBody>
                    <a:bodyPr/>
                    <a:lstStyle/>
                    <a:p>
                      <a:pPr algn="ctr" fontAlgn="ctr"/>
                      <a:r>
                        <a:rPr lang="cs-CZ" sz="1200" b="1" i="1" u="none" strike="noStrike">
                          <a:solidFill>
                            <a:srgbClr val="000000"/>
                          </a:solidFill>
                          <a:effectLst/>
                          <a:latin typeface="Calibri" panose="020F0502020204030204" pitchFamily="34" charset="0"/>
                        </a:rPr>
                        <a:t>6,3</a:t>
                      </a:r>
                    </a:p>
                  </a:txBody>
                  <a:tcPr marL="9525" marR="9525" marT="0" marB="0" anchor="ctr">
                    <a:lnL>
                      <a:noFill/>
                    </a:lnL>
                    <a:lnR>
                      <a:noFill/>
                    </a:lnR>
                    <a:lnT>
                      <a:noFill/>
                    </a:lnT>
                    <a:lnB>
                      <a:noFill/>
                    </a:lnB>
                    <a:solidFill>
                      <a:srgbClr val="79C47C"/>
                    </a:solidFill>
                  </a:tcPr>
                </a:tc>
                <a:extLst>
                  <a:ext uri="{0D108BD9-81ED-4DB2-BD59-A6C34878D82A}">
                    <a16:rowId xmlns:a16="http://schemas.microsoft.com/office/drawing/2014/main" val="423927593"/>
                  </a:ext>
                </a:extLst>
              </a:tr>
              <a:tr h="187847">
                <a:tc>
                  <a:txBody>
                    <a:bodyPr/>
                    <a:lstStyle/>
                    <a:p>
                      <a:pPr algn="ctr" fontAlgn="ctr"/>
                      <a:r>
                        <a:rPr lang="cs-CZ" sz="1200" b="1" i="1" u="none" strike="noStrike">
                          <a:solidFill>
                            <a:srgbClr val="000000"/>
                          </a:solidFill>
                          <a:effectLst/>
                          <a:latin typeface="Calibri" panose="020F0502020204030204" pitchFamily="34" charset="0"/>
                        </a:rPr>
                        <a:t>10,8</a:t>
                      </a:r>
                    </a:p>
                  </a:txBody>
                  <a:tcPr marL="9525" marR="9525" marT="0" marB="0" anchor="ctr">
                    <a:lnL>
                      <a:noFill/>
                    </a:lnL>
                    <a:lnR>
                      <a:noFill/>
                    </a:lnR>
                    <a:lnT>
                      <a:noFill/>
                    </a:lnT>
                    <a:lnB>
                      <a:noFill/>
                    </a:lnB>
                    <a:solidFill>
                      <a:srgbClr val="BED880"/>
                    </a:solidFill>
                  </a:tcPr>
                </a:tc>
                <a:extLst>
                  <a:ext uri="{0D108BD9-81ED-4DB2-BD59-A6C34878D82A}">
                    <a16:rowId xmlns:a16="http://schemas.microsoft.com/office/drawing/2014/main" val="3450231165"/>
                  </a:ext>
                </a:extLst>
              </a:tr>
              <a:tr h="187847">
                <a:tc>
                  <a:txBody>
                    <a:bodyPr/>
                    <a:lstStyle/>
                    <a:p>
                      <a:pPr algn="ctr" fontAlgn="ctr"/>
                      <a:r>
                        <a:rPr lang="cs-CZ" sz="1200" b="1" i="1" u="none" strike="noStrike">
                          <a:solidFill>
                            <a:srgbClr val="000000"/>
                          </a:solidFill>
                          <a:effectLst/>
                          <a:latin typeface="Calibri" panose="020F0502020204030204" pitchFamily="34" charset="0"/>
                        </a:rPr>
                        <a:t>28,3</a:t>
                      </a:r>
                    </a:p>
                  </a:txBody>
                  <a:tcPr marL="9525" marR="9525" marT="0" marB="0" anchor="ctr">
                    <a:lnL>
                      <a:noFill/>
                    </a:lnL>
                    <a:lnR>
                      <a:noFill/>
                    </a:lnR>
                    <a:lnT>
                      <a:noFill/>
                    </a:lnT>
                    <a:lnB>
                      <a:noFill/>
                    </a:lnB>
                    <a:solidFill>
                      <a:srgbClr val="FFDF82"/>
                    </a:solidFill>
                  </a:tcPr>
                </a:tc>
                <a:extLst>
                  <a:ext uri="{0D108BD9-81ED-4DB2-BD59-A6C34878D82A}">
                    <a16:rowId xmlns:a16="http://schemas.microsoft.com/office/drawing/2014/main" val="3437480762"/>
                  </a:ext>
                </a:extLst>
              </a:tr>
              <a:tr h="187847">
                <a:tc>
                  <a:txBody>
                    <a:bodyPr/>
                    <a:lstStyle/>
                    <a:p>
                      <a:pPr algn="ctr" fontAlgn="ctr"/>
                      <a:r>
                        <a:rPr lang="cs-CZ" sz="1200" b="1" i="1" u="none" strike="noStrike">
                          <a:solidFill>
                            <a:srgbClr val="000000"/>
                          </a:solidFill>
                          <a:effectLst/>
                          <a:latin typeface="Calibri" panose="020F0502020204030204" pitchFamily="34" charset="0"/>
                        </a:rPr>
                        <a:t>15,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753487056"/>
                  </a:ext>
                </a:extLst>
              </a:tr>
              <a:tr h="187847">
                <a:tc>
                  <a:txBody>
                    <a:bodyPr/>
                    <a:lstStyle/>
                    <a:p>
                      <a:pPr algn="ctr" fontAlgn="ctr"/>
                      <a:r>
                        <a:rPr lang="cs-CZ" sz="1200" b="1" i="1" u="none" strike="noStrike">
                          <a:solidFill>
                            <a:srgbClr val="000000"/>
                          </a:solidFill>
                          <a:effectLst/>
                          <a:latin typeface="Calibri" panose="020F0502020204030204" pitchFamily="34" charset="0"/>
                        </a:rPr>
                        <a:t>8,0</a:t>
                      </a:r>
                    </a:p>
                  </a:txBody>
                  <a:tcPr marL="9525" marR="9525" marT="0" marB="0" anchor="ctr">
                    <a:lnL>
                      <a:noFill/>
                    </a:lnL>
                    <a:lnR>
                      <a:noFill/>
                    </a:lnR>
                    <a:lnT>
                      <a:noFill/>
                    </a:lnT>
                    <a:lnB>
                      <a:noFill/>
                    </a:lnB>
                    <a:solidFill>
                      <a:srgbClr val="94CC7D"/>
                    </a:solidFill>
                  </a:tcPr>
                </a:tc>
                <a:extLst>
                  <a:ext uri="{0D108BD9-81ED-4DB2-BD59-A6C34878D82A}">
                    <a16:rowId xmlns:a16="http://schemas.microsoft.com/office/drawing/2014/main" val="3848085043"/>
                  </a:ext>
                </a:extLst>
              </a:tr>
              <a:tr h="187847">
                <a:tc>
                  <a:txBody>
                    <a:bodyPr/>
                    <a:lstStyle/>
                    <a:p>
                      <a:pPr algn="ctr" fontAlgn="ctr"/>
                      <a:r>
                        <a:rPr lang="cs-CZ" sz="1200" b="1" i="1" u="none" strike="noStrike">
                          <a:solidFill>
                            <a:srgbClr val="000000"/>
                          </a:solidFill>
                          <a:effectLst/>
                          <a:latin typeface="Calibri" panose="020F0502020204030204" pitchFamily="34" charset="0"/>
                        </a:rPr>
                        <a:t>10,0</a:t>
                      </a:r>
                    </a:p>
                  </a:txBody>
                  <a:tcPr marL="9525" marR="9525" marT="0" marB="0" anchor="ctr">
                    <a:lnL>
                      <a:noFill/>
                    </a:lnL>
                    <a:lnR>
                      <a:noFill/>
                    </a:lnR>
                    <a:lnT>
                      <a:noFill/>
                    </a:lnT>
                    <a:lnB>
                      <a:noFill/>
                    </a:lnB>
                    <a:solidFill>
                      <a:srgbClr val="B2D57F"/>
                    </a:solidFill>
                  </a:tcPr>
                </a:tc>
                <a:extLst>
                  <a:ext uri="{0D108BD9-81ED-4DB2-BD59-A6C34878D82A}">
                    <a16:rowId xmlns:a16="http://schemas.microsoft.com/office/drawing/2014/main" val="2897975555"/>
                  </a:ext>
                </a:extLst>
              </a:tr>
              <a:tr h="187847">
                <a:tc>
                  <a:txBody>
                    <a:bodyPr/>
                    <a:lstStyle/>
                    <a:p>
                      <a:pPr algn="ctr" fontAlgn="ctr"/>
                      <a:r>
                        <a:rPr lang="cs-CZ" sz="1200" b="1" i="1" u="none" strike="noStrike">
                          <a:solidFill>
                            <a:srgbClr val="000000"/>
                          </a:solidFill>
                          <a:effectLst/>
                          <a:latin typeface="Calibri" panose="020F0502020204030204" pitchFamily="34" charset="0"/>
                        </a:rPr>
                        <a:t>196,0</a:t>
                      </a:r>
                    </a:p>
                  </a:txBody>
                  <a:tcPr marL="9525" marR="9525" marT="0" marB="0" anchor="ctr">
                    <a:lnL>
                      <a:noFill/>
                    </a:lnL>
                    <a:lnR>
                      <a:noFill/>
                    </a:lnR>
                    <a:lnT>
                      <a:noFill/>
                    </a:lnT>
                    <a:lnB>
                      <a:noFill/>
                    </a:lnB>
                    <a:solidFill>
                      <a:srgbClr val="FB9273"/>
                    </a:solidFill>
                  </a:tcPr>
                </a:tc>
                <a:extLst>
                  <a:ext uri="{0D108BD9-81ED-4DB2-BD59-A6C34878D82A}">
                    <a16:rowId xmlns:a16="http://schemas.microsoft.com/office/drawing/2014/main" val="2582080781"/>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53924429"/>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885186698"/>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548298113"/>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110521744"/>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92261758"/>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20659146"/>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17473829"/>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73911312"/>
                  </a:ext>
                </a:extLst>
              </a:tr>
              <a:tr h="187847">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C2D980"/>
                    </a:solidFill>
                  </a:tcPr>
                </a:tc>
                <a:extLst>
                  <a:ext uri="{0D108BD9-81ED-4DB2-BD59-A6C34878D82A}">
                    <a16:rowId xmlns:a16="http://schemas.microsoft.com/office/drawing/2014/main" val="688919935"/>
                  </a:ext>
                </a:extLst>
              </a:tr>
              <a:tr h="187847">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01016363"/>
                  </a:ext>
                </a:extLst>
              </a:tr>
            </a:tbl>
          </a:graphicData>
        </a:graphic>
      </p:graphicFrame>
    </p:spTree>
    <p:extLst>
      <p:ext uri="{BB962C8B-B14F-4D97-AF65-F5344CB8AC3E}">
        <p14:creationId xmlns:p14="http://schemas.microsoft.com/office/powerpoint/2010/main" val="29182205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2497662947"/>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6362"/>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626965118"/>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11. 4.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4228460" y="6557489"/>
            <a:ext cx="3414717"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 3. přerušení veškeré prezenční výuky</a:t>
            </a:r>
          </a:p>
        </p:txBody>
      </p:sp>
      <p:graphicFrame>
        <p:nvGraphicFramePr>
          <p:cNvPr id="6" name="Tabulka 5">
            <a:extLst>
              <a:ext uri="{FF2B5EF4-FFF2-40B4-BE49-F238E27FC236}">
                <a16:creationId xmlns:a16="http://schemas.microsoft.com/office/drawing/2014/main" id="{8565186C-5ED8-4959-96F7-DAC803D8B466}"/>
              </a:ext>
            </a:extLst>
          </p:cNvPr>
          <p:cNvGraphicFramePr>
            <a:graphicFrameLocks noGrp="1"/>
          </p:cNvGraphicFramePr>
          <p:nvPr>
            <p:extLst>
              <p:ext uri="{D42A27DB-BD31-4B8C-83A1-F6EECF244321}">
                <p14:modId xmlns:p14="http://schemas.microsoft.com/office/powerpoint/2010/main" val="3595507911"/>
              </p:ext>
            </p:extLst>
          </p:nvPr>
        </p:nvGraphicFramePr>
        <p:xfrm>
          <a:off x="10920888" y="1572125"/>
          <a:ext cx="861537" cy="4884074"/>
        </p:xfrm>
        <a:graphic>
          <a:graphicData uri="http://schemas.openxmlformats.org/drawingml/2006/table">
            <a:tbl>
              <a:tblPr/>
              <a:tblGrid>
                <a:gridCol w="861537">
                  <a:extLst>
                    <a:ext uri="{9D8B030D-6E8A-4147-A177-3AD203B41FA5}">
                      <a16:colId xmlns:a16="http://schemas.microsoft.com/office/drawing/2014/main" val="1782972647"/>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9</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3617088480"/>
                  </a:ext>
                </a:extLst>
              </a:tr>
              <a:tr h="187849">
                <a:tc>
                  <a:txBody>
                    <a:bodyPr/>
                    <a:lstStyle/>
                    <a:p>
                      <a:pPr algn="ctr" fontAlgn="ctr"/>
                      <a:r>
                        <a:rPr lang="cs-CZ" sz="1200" b="1" i="1" u="none" strike="noStrike">
                          <a:solidFill>
                            <a:srgbClr val="000000"/>
                          </a:solidFill>
                          <a:effectLst/>
                          <a:latin typeface="Calibri" panose="020F0502020204030204" pitchFamily="34" charset="0"/>
                        </a:rPr>
                        <a:t>16,6</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1870893234"/>
                  </a:ext>
                </a:extLst>
              </a:tr>
              <a:tr h="187849">
                <a:tc>
                  <a:txBody>
                    <a:bodyPr/>
                    <a:lstStyle/>
                    <a:p>
                      <a:pPr algn="ctr" fontAlgn="ctr"/>
                      <a:r>
                        <a:rPr lang="cs-CZ" sz="1200" b="1" i="1" u="none" strike="noStrike">
                          <a:solidFill>
                            <a:srgbClr val="000000"/>
                          </a:solidFill>
                          <a:effectLst/>
                          <a:latin typeface="Calibri" panose="020F0502020204030204" pitchFamily="34" charset="0"/>
                        </a:rPr>
                        <a:t>31,9</a:t>
                      </a:r>
                    </a:p>
                  </a:txBody>
                  <a:tcPr marL="9525" marR="9525" marT="0" marB="0" anchor="ctr">
                    <a:lnL>
                      <a:noFill/>
                    </a:lnL>
                    <a:lnR>
                      <a:noFill/>
                    </a:lnR>
                    <a:lnT>
                      <a:noFill/>
                    </a:lnT>
                    <a:lnB>
                      <a:noFill/>
                    </a:lnB>
                    <a:solidFill>
                      <a:srgbClr val="FECC7E"/>
                    </a:solidFill>
                  </a:tcPr>
                </a:tc>
                <a:extLst>
                  <a:ext uri="{0D108BD9-81ED-4DB2-BD59-A6C34878D82A}">
                    <a16:rowId xmlns:a16="http://schemas.microsoft.com/office/drawing/2014/main" val="2603117833"/>
                  </a:ext>
                </a:extLst>
              </a:tr>
              <a:tr h="187849">
                <a:tc>
                  <a:txBody>
                    <a:bodyPr/>
                    <a:lstStyle/>
                    <a:p>
                      <a:pPr algn="ctr" fontAlgn="ctr"/>
                      <a:r>
                        <a:rPr lang="cs-CZ" sz="1200" b="1" i="1" u="none" strike="noStrike">
                          <a:solidFill>
                            <a:srgbClr val="000000"/>
                          </a:solidFill>
                          <a:effectLst/>
                          <a:latin typeface="Calibri" panose="020F0502020204030204" pitchFamily="34" charset="0"/>
                        </a:rPr>
                        <a:t>14,9</a:t>
                      </a:r>
                    </a:p>
                  </a:txBody>
                  <a:tcPr marL="9525" marR="9525" marT="0" marB="0" anchor="ctr">
                    <a:lnL>
                      <a:noFill/>
                    </a:lnL>
                    <a:lnR>
                      <a:noFill/>
                    </a:lnR>
                    <a:lnT>
                      <a:noFill/>
                    </a:lnT>
                    <a:lnB>
                      <a:noFill/>
                    </a:lnB>
                    <a:solidFill>
                      <a:srgbClr val="F9E983"/>
                    </a:solidFill>
                  </a:tcPr>
                </a:tc>
                <a:extLst>
                  <a:ext uri="{0D108BD9-81ED-4DB2-BD59-A6C34878D82A}">
                    <a16:rowId xmlns:a16="http://schemas.microsoft.com/office/drawing/2014/main" val="3967174055"/>
                  </a:ext>
                </a:extLst>
              </a:tr>
              <a:tr h="187849">
                <a:tc>
                  <a:txBody>
                    <a:bodyPr/>
                    <a:lstStyle/>
                    <a:p>
                      <a:pPr algn="ctr" fontAlgn="ctr"/>
                      <a:r>
                        <a:rPr lang="cs-CZ" sz="1200" b="1" i="1" u="none" strike="noStrike">
                          <a:solidFill>
                            <a:srgbClr val="000000"/>
                          </a:solidFill>
                          <a:effectLst/>
                          <a:latin typeface="Calibri" panose="020F0502020204030204" pitchFamily="34" charset="0"/>
                        </a:rPr>
                        <a:t>12,1</a:t>
                      </a:r>
                    </a:p>
                  </a:txBody>
                  <a:tcPr marL="9525" marR="9525" marT="0" marB="0" anchor="ctr">
                    <a:lnL>
                      <a:noFill/>
                    </a:lnL>
                    <a:lnR>
                      <a:noFill/>
                    </a:lnR>
                    <a:lnT>
                      <a:noFill/>
                    </a:lnT>
                    <a:lnB>
                      <a:noFill/>
                    </a:lnB>
                    <a:solidFill>
                      <a:srgbClr val="D2DE81"/>
                    </a:solidFill>
                  </a:tcPr>
                </a:tc>
                <a:extLst>
                  <a:ext uri="{0D108BD9-81ED-4DB2-BD59-A6C34878D82A}">
                    <a16:rowId xmlns:a16="http://schemas.microsoft.com/office/drawing/2014/main" val="2495131885"/>
                  </a:ext>
                </a:extLst>
              </a:tr>
              <a:tr h="187849">
                <a:tc>
                  <a:txBody>
                    <a:bodyPr/>
                    <a:lstStyle/>
                    <a:p>
                      <a:pPr algn="ctr" fontAlgn="ctr"/>
                      <a:r>
                        <a:rPr lang="cs-CZ" sz="1200" b="1" i="1" u="none" strike="noStrike">
                          <a:solidFill>
                            <a:srgbClr val="000000"/>
                          </a:solidFill>
                          <a:effectLst/>
                          <a:latin typeface="Calibri" panose="020F0502020204030204" pitchFamily="34" charset="0"/>
                        </a:rPr>
                        <a:t>20,9</a:t>
                      </a:r>
                    </a:p>
                  </a:txBody>
                  <a:tcPr marL="9525" marR="9525" marT="0" marB="0" anchor="ctr">
                    <a:lnL>
                      <a:noFill/>
                    </a:lnL>
                    <a:lnR>
                      <a:noFill/>
                    </a:lnR>
                    <a:lnT>
                      <a:noFill/>
                    </a:lnT>
                    <a:lnB>
                      <a:noFill/>
                    </a:lnB>
                    <a:solidFill>
                      <a:srgbClr val="FFE082"/>
                    </a:solidFill>
                  </a:tcPr>
                </a:tc>
                <a:extLst>
                  <a:ext uri="{0D108BD9-81ED-4DB2-BD59-A6C34878D82A}">
                    <a16:rowId xmlns:a16="http://schemas.microsoft.com/office/drawing/2014/main" val="256438032"/>
                  </a:ext>
                </a:extLst>
              </a:tr>
              <a:tr h="187849">
                <a:tc>
                  <a:txBody>
                    <a:bodyPr/>
                    <a:lstStyle/>
                    <a:p>
                      <a:pPr algn="ctr" fontAlgn="ctr"/>
                      <a:r>
                        <a:rPr lang="cs-CZ" sz="1200" b="1" i="1" u="none" strike="noStrike">
                          <a:solidFill>
                            <a:srgbClr val="000000"/>
                          </a:solidFill>
                          <a:effectLst/>
                          <a:latin typeface="Calibri" panose="020F0502020204030204" pitchFamily="34" charset="0"/>
                        </a:rPr>
                        <a:t>17,6</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604833882"/>
                  </a:ext>
                </a:extLst>
              </a:tr>
              <a:tr h="187849">
                <a:tc>
                  <a:txBody>
                    <a:bodyPr/>
                    <a:lstStyle/>
                    <a:p>
                      <a:pPr algn="ctr" fontAlgn="ctr"/>
                      <a:r>
                        <a:rPr lang="cs-CZ" sz="1200" b="1" i="1" u="none" strike="noStrike">
                          <a:solidFill>
                            <a:srgbClr val="000000"/>
                          </a:solidFill>
                          <a:effectLst/>
                          <a:latin typeface="Calibri" panose="020F0502020204030204" pitchFamily="34" charset="0"/>
                        </a:rPr>
                        <a:t>78,5</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115205109"/>
                  </a:ext>
                </a:extLst>
              </a:tr>
              <a:tr h="187849">
                <a:tc>
                  <a:txBody>
                    <a:bodyPr/>
                    <a:lstStyle/>
                    <a:p>
                      <a:pPr algn="ctr" fontAlgn="ctr"/>
                      <a:r>
                        <a:rPr lang="cs-CZ" sz="1200" b="1" i="1" u="none" strike="noStrike">
                          <a:solidFill>
                            <a:srgbClr val="000000"/>
                          </a:solidFill>
                          <a:effectLst/>
                          <a:latin typeface="Calibri" panose="020F0502020204030204" pitchFamily="34" charset="0"/>
                        </a:rPr>
                        <a:t>15,7</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996345638"/>
                  </a:ext>
                </a:extLst>
              </a:tr>
              <a:tr h="187849">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2493401573"/>
                  </a:ext>
                </a:extLst>
              </a:tr>
              <a:tr h="187849">
                <a:tc>
                  <a:txBody>
                    <a:bodyPr/>
                    <a:lstStyle/>
                    <a:p>
                      <a:pPr algn="ctr" fontAlgn="ctr"/>
                      <a:r>
                        <a:rPr lang="cs-CZ" sz="1200" b="1" i="1" u="none" strike="noStrike">
                          <a:solidFill>
                            <a:srgbClr val="000000"/>
                          </a:solidFill>
                          <a:effectLst/>
                          <a:latin typeface="Calibri" panose="020F0502020204030204" pitchFamily="34" charset="0"/>
                        </a:rPr>
                        <a:t>24,5</a:t>
                      </a:r>
                    </a:p>
                  </a:txBody>
                  <a:tcPr marL="9525" marR="9525" marT="0" marB="0" anchor="ctr">
                    <a:lnL>
                      <a:noFill/>
                    </a:lnL>
                    <a:lnR>
                      <a:noFill/>
                    </a:lnR>
                    <a:lnT>
                      <a:noFill/>
                    </a:lnT>
                    <a:lnB>
                      <a:noFill/>
                    </a:lnB>
                    <a:solidFill>
                      <a:srgbClr val="FED881"/>
                    </a:solidFill>
                  </a:tcPr>
                </a:tc>
                <a:extLst>
                  <a:ext uri="{0D108BD9-81ED-4DB2-BD59-A6C34878D82A}">
                    <a16:rowId xmlns:a16="http://schemas.microsoft.com/office/drawing/2014/main" val="3765247324"/>
                  </a:ext>
                </a:extLst>
              </a:tr>
              <a:tr h="187849">
                <a:tc>
                  <a:txBody>
                    <a:bodyPr/>
                    <a:lstStyle/>
                    <a:p>
                      <a:pPr algn="ctr" fontAlgn="ctr"/>
                      <a:r>
                        <a:rPr lang="cs-CZ" sz="1200" b="1" i="1" u="none" strike="noStrike">
                          <a:solidFill>
                            <a:srgbClr val="000000"/>
                          </a:solidFill>
                          <a:effectLst/>
                          <a:latin typeface="Calibri" panose="020F0502020204030204" pitchFamily="34" charset="0"/>
                        </a:rPr>
                        <a:t>7,0</a:t>
                      </a:r>
                    </a:p>
                  </a:txBody>
                  <a:tcPr marL="9525" marR="9525" marT="0" marB="0" anchor="ctr">
                    <a:lnL>
                      <a:noFill/>
                    </a:lnL>
                    <a:lnR>
                      <a:noFill/>
                    </a:lnR>
                    <a:lnT>
                      <a:noFill/>
                    </a:lnT>
                    <a:lnB>
                      <a:noFill/>
                    </a:lnB>
                    <a:solidFill>
                      <a:srgbClr val="8DCA7D"/>
                    </a:solidFill>
                  </a:tcPr>
                </a:tc>
                <a:extLst>
                  <a:ext uri="{0D108BD9-81ED-4DB2-BD59-A6C34878D82A}">
                    <a16:rowId xmlns:a16="http://schemas.microsoft.com/office/drawing/2014/main" val="4162172357"/>
                  </a:ext>
                </a:extLst>
              </a:tr>
              <a:tr h="187849">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E0E282"/>
                    </a:solidFill>
                  </a:tcPr>
                </a:tc>
                <a:extLst>
                  <a:ext uri="{0D108BD9-81ED-4DB2-BD59-A6C34878D82A}">
                    <a16:rowId xmlns:a16="http://schemas.microsoft.com/office/drawing/2014/main" val="473411491"/>
                  </a:ext>
                </a:extLst>
              </a:tr>
              <a:tr h="187849">
                <a:tc>
                  <a:txBody>
                    <a:bodyPr/>
                    <a:lstStyle/>
                    <a:p>
                      <a:pPr algn="ctr" fontAlgn="ctr"/>
                      <a:r>
                        <a:rPr lang="cs-CZ" sz="1200" b="1" i="1" u="none" strike="noStrike">
                          <a:solidFill>
                            <a:srgbClr val="000000"/>
                          </a:solidFill>
                          <a:effectLst/>
                          <a:latin typeface="Calibri" panose="020F0502020204030204" pitchFamily="34" charset="0"/>
                        </a:rPr>
                        <a:t>6,0</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148790344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94068548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2721169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249931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75101041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61705858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4976081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67243164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7230660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1264077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74691984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20440519"/>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30772096"/>
                  </a:ext>
                </a:extLst>
              </a:tr>
            </a:tbl>
          </a:graphicData>
        </a:graphic>
      </p:graphicFrame>
    </p:spTree>
    <p:extLst>
      <p:ext uri="{BB962C8B-B14F-4D97-AF65-F5344CB8AC3E}">
        <p14:creationId xmlns:p14="http://schemas.microsoft.com/office/powerpoint/2010/main" val="11439612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3413676196"/>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6362"/>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1093936468"/>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2. 4. 2020 – 4. 6.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2980769" y="6557489"/>
            <a:ext cx="5732660"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2. 4. obnovení prezenční výuky v nižších ročnících ZŠ, rotační režimy </a:t>
            </a:r>
          </a:p>
        </p:txBody>
      </p:sp>
      <p:graphicFrame>
        <p:nvGraphicFramePr>
          <p:cNvPr id="6" name="Tabulka 5">
            <a:extLst>
              <a:ext uri="{FF2B5EF4-FFF2-40B4-BE49-F238E27FC236}">
                <a16:creationId xmlns:a16="http://schemas.microsoft.com/office/drawing/2014/main" id="{79B61D43-C4E6-4A14-A537-C7BF74A3A63C}"/>
              </a:ext>
            </a:extLst>
          </p:cNvPr>
          <p:cNvGraphicFramePr>
            <a:graphicFrameLocks noGrp="1"/>
          </p:cNvGraphicFramePr>
          <p:nvPr>
            <p:extLst>
              <p:ext uri="{D42A27DB-BD31-4B8C-83A1-F6EECF244321}">
                <p14:modId xmlns:p14="http://schemas.microsoft.com/office/powerpoint/2010/main" val="4194000148"/>
              </p:ext>
            </p:extLst>
          </p:nvPr>
        </p:nvGraphicFramePr>
        <p:xfrm>
          <a:off x="10920889" y="1572121"/>
          <a:ext cx="852012" cy="4884074"/>
        </p:xfrm>
        <a:graphic>
          <a:graphicData uri="http://schemas.openxmlformats.org/drawingml/2006/table">
            <a:tbl>
              <a:tblPr/>
              <a:tblGrid>
                <a:gridCol w="852012">
                  <a:extLst>
                    <a:ext uri="{9D8B030D-6E8A-4147-A177-3AD203B41FA5}">
                      <a16:colId xmlns:a16="http://schemas.microsoft.com/office/drawing/2014/main" val="1520732611"/>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2</a:t>
                      </a:r>
                    </a:p>
                  </a:txBody>
                  <a:tcPr marL="9525" marR="9525" marT="0" marB="0" anchor="ctr">
                    <a:lnL>
                      <a:noFill/>
                    </a:lnL>
                    <a:lnR>
                      <a:noFill/>
                    </a:lnR>
                    <a:lnT>
                      <a:noFill/>
                    </a:lnT>
                    <a:lnB>
                      <a:noFill/>
                    </a:lnB>
                    <a:solidFill>
                      <a:srgbClr val="65BE7B"/>
                    </a:solidFill>
                  </a:tcPr>
                </a:tc>
                <a:extLst>
                  <a:ext uri="{0D108BD9-81ED-4DB2-BD59-A6C34878D82A}">
                    <a16:rowId xmlns:a16="http://schemas.microsoft.com/office/drawing/2014/main" val="3106230992"/>
                  </a:ext>
                </a:extLst>
              </a:tr>
              <a:tr h="187849">
                <a:tc>
                  <a:txBody>
                    <a:bodyPr/>
                    <a:lstStyle/>
                    <a:p>
                      <a:pPr algn="ctr" fontAlgn="ctr"/>
                      <a:r>
                        <a:rPr lang="cs-CZ" sz="1200" b="1" i="1" u="none" strike="noStrike">
                          <a:solidFill>
                            <a:srgbClr val="000000"/>
                          </a:solidFill>
                          <a:effectLst/>
                          <a:latin typeface="Calibri" panose="020F0502020204030204" pitchFamily="34" charset="0"/>
                        </a:rPr>
                        <a:t>11,7</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105124715"/>
                  </a:ext>
                </a:extLst>
              </a:tr>
              <a:tr h="187849">
                <a:tc>
                  <a:txBody>
                    <a:bodyPr/>
                    <a:lstStyle/>
                    <a:p>
                      <a:pPr algn="ctr" fontAlgn="ctr"/>
                      <a:r>
                        <a:rPr lang="cs-CZ" sz="1200" b="1" i="1" u="none" strike="noStrike">
                          <a:solidFill>
                            <a:srgbClr val="000000"/>
                          </a:solidFill>
                          <a:effectLst/>
                          <a:latin typeface="Calibri" panose="020F0502020204030204" pitchFamily="34" charset="0"/>
                        </a:rPr>
                        <a:t>13,7</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142773906"/>
                  </a:ext>
                </a:extLst>
              </a:tr>
              <a:tr h="187849">
                <a:tc>
                  <a:txBody>
                    <a:bodyPr/>
                    <a:lstStyle/>
                    <a:p>
                      <a:pPr algn="ctr" fontAlgn="ctr"/>
                      <a:r>
                        <a:rPr lang="cs-CZ" sz="1200" b="1" i="1" u="none" strike="noStrike">
                          <a:solidFill>
                            <a:srgbClr val="000000"/>
                          </a:solidFill>
                          <a:effectLst/>
                          <a:latin typeface="Calibri" panose="020F0502020204030204" pitchFamily="34" charset="0"/>
                        </a:rPr>
                        <a:t>11,7</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952617196"/>
                  </a:ext>
                </a:extLst>
              </a:tr>
              <a:tr h="187849">
                <a:tc>
                  <a:txBody>
                    <a:bodyPr/>
                    <a:lstStyle/>
                    <a:p>
                      <a:pPr algn="ctr" fontAlgn="ctr"/>
                      <a:r>
                        <a:rPr lang="cs-CZ" sz="1200" b="1" i="1" u="none" strike="noStrike">
                          <a:solidFill>
                            <a:srgbClr val="000000"/>
                          </a:solidFill>
                          <a:effectLst/>
                          <a:latin typeface="Calibri" panose="020F0502020204030204" pitchFamily="34" charset="0"/>
                        </a:rPr>
                        <a:t>9,5</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646901687"/>
                  </a:ext>
                </a:extLst>
              </a:tr>
              <a:tr h="187849">
                <a:tc>
                  <a:txBody>
                    <a:bodyPr/>
                    <a:lstStyle/>
                    <a:p>
                      <a:pPr algn="ctr" fontAlgn="ctr"/>
                      <a:r>
                        <a:rPr lang="cs-CZ" sz="1200" b="1" i="1" u="none" strike="noStrike">
                          <a:solidFill>
                            <a:srgbClr val="000000"/>
                          </a:solidFill>
                          <a:effectLst/>
                          <a:latin typeface="Calibri" panose="020F0502020204030204" pitchFamily="34" charset="0"/>
                        </a:rPr>
                        <a:t>6,6</a:t>
                      </a:r>
                    </a:p>
                  </a:txBody>
                  <a:tcPr marL="9525" marR="9525" marT="0" marB="0" anchor="ctr">
                    <a:lnL>
                      <a:noFill/>
                    </a:lnL>
                    <a:lnR>
                      <a:noFill/>
                    </a:lnR>
                    <a:lnT>
                      <a:noFill/>
                    </a:lnT>
                    <a:lnB>
                      <a:noFill/>
                    </a:lnB>
                    <a:solidFill>
                      <a:srgbClr val="F7E883"/>
                    </a:solidFill>
                  </a:tcPr>
                </a:tc>
                <a:extLst>
                  <a:ext uri="{0D108BD9-81ED-4DB2-BD59-A6C34878D82A}">
                    <a16:rowId xmlns:a16="http://schemas.microsoft.com/office/drawing/2014/main" val="657586388"/>
                  </a:ext>
                </a:extLst>
              </a:tr>
              <a:tr h="187849">
                <a:tc>
                  <a:txBody>
                    <a:bodyPr/>
                    <a:lstStyle/>
                    <a:p>
                      <a:pPr algn="ctr" fontAlgn="ctr"/>
                      <a:r>
                        <a:rPr lang="cs-CZ" sz="1200" b="1" i="1" u="none" strike="noStrike">
                          <a:solidFill>
                            <a:srgbClr val="000000"/>
                          </a:solidFill>
                          <a:effectLst/>
                          <a:latin typeface="Calibri" panose="020F0502020204030204" pitchFamily="34" charset="0"/>
                        </a:rPr>
                        <a:t>4,9</a:t>
                      </a:r>
                    </a:p>
                  </a:txBody>
                  <a:tcPr marL="9525" marR="9525" marT="0" marB="0" anchor="ctr">
                    <a:lnL>
                      <a:noFill/>
                    </a:lnL>
                    <a:lnR>
                      <a:noFill/>
                    </a:lnR>
                    <a:lnT>
                      <a:noFill/>
                    </a:lnT>
                    <a:lnB>
                      <a:noFill/>
                    </a:lnB>
                    <a:solidFill>
                      <a:srgbClr val="A9D27F"/>
                    </a:solidFill>
                  </a:tcPr>
                </a:tc>
                <a:extLst>
                  <a:ext uri="{0D108BD9-81ED-4DB2-BD59-A6C34878D82A}">
                    <a16:rowId xmlns:a16="http://schemas.microsoft.com/office/drawing/2014/main" val="1721918148"/>
                  </a:ext>
                </a:extLst>
              </a:tr>
              <a:tr h="187849">
                <a:tc>
                  <a:txBody>
                    <a:bodyPr/>
                    <a:lstStyle/>
                    <a:p>
                      <a:pPr algn="ctr" fontAlgn="ctr"/>
                      <a:r>
                        <a:rPr lang="cs-CZ" sz="1200" b="1" i="1" u="none" strike="noStrike">
                          <a:solidFill>
                            <a:srgbClr val="000000"/>
                          </a:solidFill>
                          <a:effectLst/>
                          <a:latin typeface="Calibri" panose="020F0502020204030204" pitchFamily="34" charset="0"/>
                        </a:rPr>
                        <a:t>143,1</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4080965494"/>
                  </a:ext>
                </a:extLst>
              </a:tr>
              <a:tr h="187849">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2866133204"/>
                  </a:ext>
                </a:extLst>
              </a:tr>
              <a:tr h="187849">
                <a:tc>
                  <a:txBody>
                    <a:bodyPr/>
                    <a:lstStyle/>
                    <a:p>
                      <a:pPr algn="ctr" fontAlgn="ctr"/>
                      <a:r>
                        <a:rPr lang="cs-CZ" sz="1200" b="1" i="1" u="none" strike="noStrike">
                          <a:solidFill>
                            <a:srgbClr val="000000"/>
                          </a:solidFill>
                          <a:effectLst/>
                          <a:latin typeface="Calibri" panose="020F0502020204030204" pitchFamily="34" charset="0"/>
                        </a:rPr>
                        <a:t>5,3</a:t>
                      </a:r>
                    </a:p>
                  </a:txBody>
                  <a:tcPr marL="9525" marR="9525" marT="0" marB="0" anchor="ctr">
                    <a:lnL>
                      <a:noFill/>
                    </a:lnL>
                    <a:lnR>
                      <a:noFill/>
                    </a:lnR>
                    <a:lnT>
                      <a:noFill/>
                    </a:lnT>
                    <a:lnB>
                      <a:noFill/>
                    </a:lnB>
                    <a:solidFill>
                      <a:srgbClr val="BFD880"/>
                    </a:solidFill>
                  </a:tcPr>
                </a:tc>
                <a:extLst>
                  <a:ext uri="{0D108BD9-81ED-4DB2-BD59-A6C34878D82A}">
                    <a16:rowId xmlns:a16="http://schemas.microsoft.com/office/drawing/2014/main" val="471877158"/>
                  </a:ext>
                </a:extLst>
              </a:tr>
              <a:tr h="187849">
                <a:tc>
                  <a:txBody>
                    <a:bodyPr/>
                    <a:lstStyle/>
                    <a:p>
                      <a:pPr algn="ctr" fontAlgn="ctr"/>
                      <a:r>
                        <a:rPr lang="cs-CZ" sz="1200" b="1" i="1" u="none" strike="noStrike">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726251850"/>
                  </a:ext>
                </a:extLst>
              </a:tr>
              <a:tr h="187849">
                <a:tc>
                  <a:txBody>
                    <a:bodyPr/>
                    <a:lstStyle/>
                    <a:p>
                      <a:pPr algn="ctr" fontAlgn="ctr"/>
                      <a:r>
                        <a:rPr lang="cs-CZ" sz="1200" b="1" i="1" u="none" strike="noStrike">
                          <a:solidFill>
                            <a:srgbClr val="000000"/>
                          </a:solidFill>
                          <a:effectLst/>
                          <a:latin typeface="Calibri" panose="020F0502020204030204" pitchFamily="34" charset="0"/>
                        </a:rPr>
                        <a:t>7,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84496397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20780852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9855071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320892657"/>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24372400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497651856"/>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09854717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9241378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408151795"/>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071820336"/>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65767221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134591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928366373"/>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29236102"/>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203062273"/>
                  </a:ext>
                </a:extLst>
              </a:tr>
            </a:tbl>
          </a:graphicData>
        </a:graphic>
      </p:graphicFrame>
    </p:spTree>
    <p:extLst>
      <p:ext uri="{BB962C8B-B14F-4D97-AF65-F5344CB8AC3E}">
        <p14:creationId xmlns:p14="http://schemas.microsoft.com/office/powerpoint/2010/main" val="2379116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51808" y="168344"/>
            <a:ext cx="1106805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ohnisek nákazy ve školských zařízeních v čase odráží změny v přijatých protiepidemick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50568" y="2337839"/>
            <a:ext cx="11670530" cy="4308872"/>
          </a:xfrm>
          <a:prstGeom prst="rect">
            <a:avLst/>
          </a:prstGeom>
          <a:noFill/>
        </p:spPr>
        <p:txBody>
          <a:bodyPr wrap="square" rtlCol="0">
            <a:spAutoFit/>
          </a:bodyPr>
          <a:lstStyle/>
          <a:p>
            <a:pPr lvl="0" algn="ctr">
              <a:defRPr/>
            </a:pPr>
            <a:r>
              <a:rPr lang="cs-CZ" sz="2400" b="1" dirty="0">
                <a:latin typeface="Calibri" panose="020F0502020204030204"/>
              </a:rPr>
              <a:t>Po uzavření škol (kromě mateřských) od  14.10. došlo k poklesu a vymizení nákaz </a:t>
            </a:r>
          </a:p>
          <a:p>
            <a:pPr lvl="0" algn="ctr">
              <a:defRPr/>
            </a:pPr>
            <a:r>
              <a:rPr lang="cs-CZ" sz="2400" b="1" dirty="0">
                <a:latin typeface="Calibri" panose="020F0502020204030204"/>
              </a:rPr>
              <a:t>v základních a středních školách, po návratu části dětí a studentů do škol od 18.11. a 30.11. byl registrován nárůst v základních školách i středních školách. Následně, po poklesu v období vánočních prázdnin, byl na začátku roku 2021 opět pozorován nárůst v MŠ a ZŠ. Počet ohnisek v MŠ a ZŠ postupně narůstal až k velmi vysokým hodnotám registrovaným v únoru (více než 600 identifikovaných ohnisek s více než 2 500 nakaženými osobami). </a:t>
            </a:r>
          </a:p>
          <a:p>
            <a:pPr lvl="0" algn="ctr">
              <a:defRPr/>
            </a:pPr>
            <a:endParaRPr lang="cs-CZ" sz="2600" b="1" dirty="0">
              <a:solidFill>
                <a:srgbClr val="C00000"/>
              </a:solidFill>
              <a:latin typeface="Calibri" panose="020F0502020204030204"/>
            </a:endParaRPr>
          </a:p>
          <a:p>
            <a:pPr lvl="0" algn="ctr">
              <a:defRPr/>
            </a:pPr>
            <a:r>
              <a:rPr lang="cs-CZ" sz="2600" b="1" dirty="0">
                <a:solidFill>
                  <a:srgbClr val="0000FF"/>
                </a:solidFill>
                <a:latin typeface="Calibri" panose="020F0502020204030204"/>
              </a:rPr>
              <a:t>Po uzavření téměř veškeré prezenční výuky po 1.3. počty ohnisek i nakažených významně poklesly. Po 12.4. jsou opět ze strany KHS zaznamenávány epidemické události a ohniska asociovaná se školskými zařízeními, nicméně jde o události </a:t>
            </a:r>
          </a:p>
          <a:p>
            <a:pPr lvl="0" algn="ctr">
              <a:defRPr/>
            </a:pPr>
            <a:r>
              <a:rPr lang="cs-CZ" sz="2600" b="1" dirty="0">
                <a:solidFill>
                  <a:srgbClr val="0000FF"/>
                </a:solidFill>
                <a:latin typeface="Calibri" panose="020F0502020204030204"/>
              </a:rPr>
              <a:t>s velmi málo nakaženými osobami, evidentně včas podchycené. </a:t>
            </a:r>
            <a:endParaRPr kumimoji="0" lang="cs-CZ" sz="26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438145" y="1509628"/>
            <a:ext cx="1095375" cy="76531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8949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711555030"/>
              </p:ext>
            </p:extLst>
          </p:nvPr>
        </p:nvGraphicFramePr>
        <p:xfrm>
          <a:off x="377483" y="999070"/>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9" name="Přímá spojnice se šipkou 28">
            <a:extLst>
              <a:ext uri="{FF2B5EF4-FFF2-40B4-BE49-F238E27FC236}">
                <a16:creationId xmlns:a16="http://schemas.microsoft.com/office/drawing/2014/main" id="{35A34B06-3F1C-44F4-8964-C38BC8F367DD}"/>
              </a:ext>
            </a:extLst>
          </p:cNvPr>
          <p:cNvCxnSpPr/>
          <p:nvPr/>
        </p:nvCxnSpPr>
        <p:spPr>
          <a:xfrm>
            <a:off x="2315641" y="2158615"/>
            <a:ext cx="0" cy="20116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Obdélník 29">
            <a:extLst>
              <a:ext uri="{FF2B5EF4-FFF2-40B4-BE49-F238E27FC236}">
                <a16:creationId xmlns:a16="http://schemas.microsoft.com/office/drawing/2014/main" id="{8FA5655E-1178-4187-A894-8E4BF60BC402}"/>
              </a:ext>
            </a:extLst>
          </p:cNvPr>
          <p:cNvSpPr/>
          <p:nvPr/>
        </p:nvSpPr>
        <p:spPr>
          <a:xfrm>
            <a:off x="1101563" y="1646830"/>
            <a:ext cx="1355885"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31" name="Obdélník 30">
            <a:extLst>
              <a:ext uri="{FF2B5EF4-FFF2-40B4-BE49-F238E27FC236}">
                <a16:creationId xmlns:a16="http://schemas.microsoft.com/office/drawing/2014/main" id="{399E7AEF-B934-4748-8FF1-D92FDBD30BCC}"/>
              </a:ext>
            </a:extLst>
          </p:cNvPr>
          <p:cNvSpPr/>
          <p:nvPr/>
        </p:nvSpPr>
        <p:spPr>
          <a:xfrm>
            <a:off x="2463840" y="1493049"/>
            <a:ext cx="1389990"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graphicFrame>
        <p:nvGraphicFramePr>
          <p:cNvPr id="32" name="Tabulka 31">
            <a:extLst>
              <a:ext uri="{FF2B5EF4-FFF2-40B4-BE49-F238E27FC236}">
                <a16:creationId xmlns:a16="http://schemas.microsoft.com/office/drawing/2014/main" id="{D20D3E06-2A32-4C03-A2D4-3CC8E6D1A19E}"/>
              </a:ext>
            </a:extLst>
          </p:cNvPr>
          <p:cNvGraphicFramePr>
            <a:graphicFrameLocks noGrp="1"/>
          </p:cNvGraphicFramePr>
          <p:nvPr>
            <p:extLst>
              <p:ext uri="{D42A27DB-BD31-4B8C-83A1-F6EECF244321}">
                <p14:modId xmlns:p14="http://schemas.microsoft.com/office/powerpoint/2010/main" val="64856356"/>
              </p:ext>
            </p:extLst>
          </p:nvPr>
        </p:nvGraphicFramePr>
        <p:xfrm>
          <a:off x="170960" y="5926239"/>
          <a:ext cx="9853720" cy="375285"/>
        </p:xfrm>
        <a:graphic>
          <a:graphicData uri="http://schemas.openxmlformats.org/drawingml/2006/table">
            <a:tbl>
              <a:tblPr/>
              <a:tblGrid>
                <a:gridCol w="570440">
                  <a:extLst>
                    <a:ext uri="{9D8B030D-6E8A-4147-A177-3AD203B41FA5}">
                      <a16:colId xmlns:a16="http://schemas.microsoft.com/office/drawing/2014/main" val="3477426339"/>
                    </a:ext>
                  </a:extLst>
                </a:gridCol>
                <a:gridCol w="232082">
                  <a:extLst>
                    <a:ext uri="{9D8B030D-6E8A-4147-A177-3AD203B41FA5}">
                      <a16:colId xmlns:a16="http://schemas.microsoft.com/office/drawing/2014/main" val="3057122252"/>
                    </a:ext>
                  </a:extLst>
                </a:gridCol>
                <a:gridCol w="232082">
                  <a:extLst>
                    <a:ext uri="{9D8B030D-6E8A-4147-A177-3AD203B41FA5}">
                      <a16:colId xmlns:a16="http://schemas.microsoft.com/office/drawing/2014/main" val="1095308775"/>
                    </a:ext>
                  </a:extLst>
                </a:gridCol>
                <a:gridCol w="232082">
                  <a:extLst>
                    <a:ext uri="{9D8B030D-6E8A-4147-A177-3AD203B41FA5}">
                      <a16:colId xmlns:a16="http://schemas.microsoft.com/office/drawing/2014/main" val="4236909815"/>
                    </a:ext>
                  </a:extLst>
                </a:gridCol>
                <a:gridCol w="232082">
                  <a:extLst>
                    <a:ext uri="{9D8B030D-6E8A-4147-A177-3AD203B41FA5}">
                      <a16:colId xmlns:a16="http://schemas.microsoft.com/office/drawing/2014/main" val="4101213551"/>
                    </a:ext>
                  </a:extLst>
                </a:gridCol>
                <a:gridCol w="232082">
                  <a:extLst>
                    <a:ext uri="{9D8B030D-6E8A-4147-A177-3AD203B41FA5}">
                      <a16:colId xmlns:a16="http://schemas.microsoft.com/office/drawing/2014/main" val="3727066907"/>
                    </a:ext>
                  </a:extLst>
                </a:gridCol>
                <a:gridCol w="232082">
                  <a:extLst>
                    <a:ext uri="{9D8B030D-6E8A-4147-A177-3AD203B41FA5}">
                      <a16:colId xmlns:a16="http://schemas.microsoft.com/office/drawing/2014/main" val="263177340"/>
                    </a:ext>
                  </a:extLst>
                </a:gridCol>
                <a:gridCol w="232082">
                  <a:extLst>
                    <a:ext uri="{9D8B030D-6E8A-4147-A177-3AD203B41FA5}">
                      <a16:colId xmlns:a16="http://schemas.microsoft.com/office/drawing/2014/main" val="2517248"/>
                    </a:ext>
                  </a:extLst>
                </a:gridCol>
                <a:gridCol w="232082">
                  <a:extLst>
                    <a:ext uri="{9D8B030D-6E8A-4147-A177-3AD203B41FA5}">
                      <a16:colId xmlns:a16="http://schemas.microsoft.com/office/drawing/2014/main" val="426615486"/>
                    </a:ext>
                  </a:extLst>
                </a:gridCol>
                <a:gridCol w="232082">
                  <a:extLst>
                    <a:ext uri="{9D8B030D-6E8A-4147-A177-3AD203B41FA5}">
                      <a16:colId xmlns:a16="http://schemas.microsoft.com/office/drawing/2014/main" val="2355729246"/>
                    </a:ext>
                  </a:extLst>
                </a:gridCol>
                <a:gridCol w="232082">
                  <a:extLst>
                    <a:ext uri="{9D8B030D-6E8A-4147-A177-3AD203B41FA5}">
                      <a16:colId xmlns:a16="http://schemas.microsoft.com/office/drawing/2014/main" val="3139665668"/>
                    </a:ext>
                  </a:extLst>
                </a:gridCol>
                <a:gridCol w="232082">
                  <a:extLst>
                    <a:ext uri="{9D8B030D-6E8A-4147-A177-3AD203B41FA5}">
                      <a16:colId xmlns:a16="http://schemas.microsoft.com/office/drawing/2014/main" val="1981226541"/>
                    </a:ext>
                  </a:extLst>
                </a:gridCol>
                <a:gridCol w="232082">
                  <a:extLst>
                    <a:ext uri="{9D8B030D-6E8A-4147-A177-3AD203B41FA5}">
                      <a16:colId xmlns:a16="http://schemas.microsoft.com/office/drawing/2014/main" val="968144063"/>
                    </a:ext>
                  </a:extLst>
                </a:gridCol>
                <a:gridCol w="232082">
                  <a:extLst>
                    <a:ext uri="{9D8B030D-6E8A-4147-A177-3AD203B41FA5}">
                      <a16:colId xmlns:a16="http://schemas.microsoft.com/office/drawing/2014/main" val="2982776992"/>
                    </a:ext>
                  </a:extLst>
                </a:gridCol>
                <a:gridCol w="232082">
                  <a:extLst>
                    <a:ext uri="{9D8B030D-6E8A-4147-A177-3AD203B41FA5}">
                      <a16:colId xmlns:a16="http://schemas.microsoft.com/office/drawing/2014/main" val="280725461"/>
                    </a:ext>
                  </a:extLst>
                </a:gridCol>
                <a:gridCol w="232082">
                  <a:extLst>
                    <a:ext uri="{9D8B030D-6E8A-4147-A177-3AD203B41FA5}">
                      <a16:colId xmlns:a16="http://schemas.microsoft.com/office/drawing/2014/main" val="1598498311"/>
                    </a:ext>
                  </a:extLst>
                </a:gridCol>
                <a:gridCol w="232082">
                  <a:extLst>
                    <a:ext uri="{9D8B030D-6E8A-4147-A177-3AD203B41FA5}">
                      <a16:colId xmlns:a16="http://schemas.microsoft.com/office/drawing/2014/main" val="3332453339"/>
                    </a:ext>
                  </a:extLst>
                </a:gridCol>
                <a:gridCol w="232082">
                  <a:extLst>
                    <a:ext uri="{9D8B030D-6E8A-4147-A177-3AD203B41FA5}">
                      <a16:colId xmlns:a16="http://schemas.microsoft.com/office/drawing/2014/main" val="548388223"/>
                    </a:ext>
                  </a:extLst>
                </a:gridCol>
                <a:gridCol w="232082">
                  <a:extLst>
                    <a:ext uri="{9D8B030D-6E8A-4147-A177-3AD203B41FA5}">
                      <a16:colId xmlns:a16="http://schemas.microsoft.com/office/drawing/2014/main" val="237036387"/>
                    </a:ext>
                  </a:extLst>
                </a:gridCol>
                <a:gridCol w="232082">
                  <a:extLst>
                    <a:ext uri="{9D8B030D-6E8A-4147-A177-3AD203B41FA5}">
                      <a16:colId xmlns:a16="http://schemas.microsoft.com/office/drawing/2014/main" val="1629782497"/>
                    </a:ext>
                  </a:extLst>
                </a:gridCol>
                <a:gridCol w="232082">
                  <a:extLst>
                    <a:ext uri="{9D8B030D-6E8A-4147-A177-3AD203B41FA5}">
                      <a16:colId xmlns:a16="http://schemas.microsoft.com/office/drawing/2014/main" val="2469896410"/>
                    </a:ext>
                  </a:extLst>
                </a:gridCol>
                <a:gridCol w="232082">
                  <a:extLst>
                    <a:ext uri="{9D8B030D-6E8A-4147-A177-3AD203B41FA5}">
                      <a16:colId xmlns:a16="http://schemas.microsoft.com/office/drawing/2014/main" val="642921040"/>
                    </a:ext>
                  </a:extLst>
                </a:gridCol>
                <a:gridCol w="232082">
                  <a:extLst>
                    <a:ext uri="{9D8B030D-6E8A-4147-A177-3AD203B41FA5}">
                      <a16:colId xmlns:a16="http://schemas.microsoft.com/office/drawing/2014/main" val="849962001"/>
                    </a:ext>
                  </a:extLst>
                </a:gridCol>
                <a:gridCol w="232082">
                  <a:extLst>
                    <a:ext uri="{9D8B030D-6E8A-4147-A177-3AD203B41FA5}">
                      <a16:colId xmlns:a16="http://schemas.microsoft.com/office/drawing/2014/main" val="2032782812"/>
                    </a:ext>
                  </a:extLst>
                </a:gridCol>
                <a:gridCol w="232082">
                  <a:extLst>
                    <a:ext uri="{9D8B030D-6E8A-4147-A177-3AD203B41FA5}">
                      <a16:colId xmlns:a16="http://schemas.microsoft.com/office/drawing/2014/main" val="2323855970"/>
                    </a:ext>
                  </a:extLst>
                </a:gridCol>
                <a:gridCol w="232082">
                  <a:extLst>
                    <a:ext uri="{9D8B030D-6E8A-4147-A177-3AD203B41FA5}">
                      <a16:colId xmlns:a16="http://schemas.microsoft.com/office/drawing/2014/main" val="872630751"/>
                    </a:ext>
                  </a:extLst>
                </a:gridCol>
                <a:gridCol w="232082">
                  <a:extLst>
                    <a:ext uri="{9D8B030D-6E8A-4147-A177-3AD203B41FA5}">
                      <a16:colId xmlns:a16="http://schemas.microsoft.com/office/drawing/2014/main" val="807542188"/>
                    </a:ext>
                  </a:extLst>
                </a:gridCol>
                <a:gridCol w="232082">
                  <a:extLst>
                    <a:ext uri="{9D8B030D-6E8A-4147-A177-3AD203B41FA5}">
                      <a16:colId xmlns:a16="http://schemas.microsoft.com/office/drawing/2014/main" val="4206631271"/>
                    </a:ext>
                  </a:extLst>
                </a:gridCol>
                <a:gridCol w="232082">
                  <a:extLst>
                    <a:ext uri="{9D8B030D-6E8A-4147-A177-3AD203B41FA5}">
                      <a16:colId xmlns:a16="http://schemas.microsoft.com/office/drawing/2014/main" val="322472020"/>
                    </a:ext>
                  </a:extLst>
                </a:gridCol>
                <a:gridCol w="232082">
                  <a:extLst>
                    <a:ext uri="{9D8B030D-6E8A-4147-A177-3AD203B41FA5}">
                      <a16:colId xmlns:a16="http://schemas.microsoft.com/office/drawing/2014/main" val="1890870844"/>
                    </a:ext>
                  </a:extLst>
                </a:gridCol>
                <a:gridCol w="232082">
                  <a:extLst>
                    <a:ext uri="{9D8B030D-6E8A-4147-A177-3AD203B41FA5}">
                      <a16:colId xmlns:a16="http://schemas.microsoft.com/office/drawing/2014/main" val="4230996052"/>
                    </a:ext>
                  </a:extLst>
                </a:gridCol>
                <a:gridCol w="232082">
                  <a:extLst>
                    <a:ext uri="{9D8B030D-6E8A-4147-A177-3AD203B41FA5}">
                      <a16:colId xmlns:a16="http://schemas.microsoft.com/office/drawing/2014/main" val="2344361654"/>
                    </a:ext>
                  </a:extLst>
                </a:gridCol>
                <a:gridCol w="232082">
                  <a:extLst>
                    <a:ext uri="{9D8B030D-6E8A-4147-A177-3AD203B41FA5}">
                      <a16:colId xmlns:a16="http://schemas.microsoft.com/office/drawing/2014/main" val="2234870118"/>
                    </a:ext>
                  </a:extLst>
                </a:gridCol>
                <a:gridCol w="232082">
                  <a:extLst>
                    <a:ext uri="{9D8B030D-6E8A-4147-A177-3AD203B41FA5}">
                      <a16:colId xmlns:a16="http://schemas.microsoft.com/office/drawing/2014/main" val="435687831"/>
                    </a:ext>
                  </a:extLst>
                </a:gridCol>
                <a:gridCol w="232082">
                  <a:extLst>
                    <a:ext uri="{9D8B030D-6E8A-4147-A177-3AD203B41FA5}">
                      <a16:colId xmlns:a16="http://schemas.microsoft.com/office/drawing/2014/main" val="2016556897"/>
                    </a:ext>
                  </a:extLst>
                </a:gridCol>
                <a:gridCol w="232082">
                  <a:extLst>
                    <a:ext uri="{9D8B030D-6E8A-4147-A177-3AD203B41FA5}">
                      <a16:colId xmlns:a16="http://schemas.microsoft.com/office/drawing/2014/main" val="361317579"/>
                    </a:ext>
                  </a:extLst>
                </a:gridCol>
                <a:gridCol w="232082">
                  <a:extLst>
                    <a:ext uri="{9D8B030D-6E8A-4147-A177-3AD203B41FA5}">
                      <a16:colId xmlns:a16="http://schemas.microsoft.com/office/drawing/2014/main" val="1791700215"/>
                    </a:ext>
                  </a:extLst>
                </a:gridCol>
                <a:gridCol w="232082">
                  <a:extLst>
                    <a:ext uri="{9D8B030D-6E8A-4147-A177-3AD203B41FA5}">
                      <a16:colId xmlns:a16="http://schemas.microsoft.com/office/drawing/2014/main" val="2916757744"/>
                    </a:ext>
                  </a:extLst>
                </a:gridCol>
                <a:gridCol w="232082">
                  <a:extLst>
                    <a:ext uri="{9D8B030D-6E8A-4147-A177-3AD203B41FA5}">
                      <a16:colId xmlns:a16="http://schemas.microsoft.com/office/drawing/2014/main" val="1564585547"/>
                    </a:ext>
                  </a:extLst>
                </a:gridCol>
                <a:gridCol w="232082">
                  <a:extLst>
                    <a:ext uri="{9D8B030D-6E8A-4147-A177-3AD203B41FA5}">
                      <a16:colId xmlns:a16="http://schemas.microsoft.com/office/drawing/2014/main" val="2769709357"/>
                    </a:ext>
                  </a:extLst>
                </a:gridCol>
                <a:gridCol w="232082">
                  <a:extLst>
                    <a:ext uri="{9D8B030D-6E8A-4147-A177-3AD203B41FA5}">
                      <a16:colId xmlns:a16="http://schemas.microsoft.com/office/drawing/2014/main" val="3579389947"/>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dirty="0">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sp>
        <p:nvSpPr>
          <p:cNvPr id="33" name="Obdélník 32">
            <a:extLst>
              <a:ext uri="{FF2B5EF4-FFF2-40B4-BE49-F238E27FC236}">
                <a16:creationId xmlns:a16="http://schemas.microsoft.com/office/drawing/2014/main" id="{9A687758-B1CC-4B4B-BE56-23C2E11E6E3D}"/>
              </a:ext>
            </a:extLst>
          </p:cNvPr>
          <p:cNvSpPr/>
          <p:nvPr/>
        </p:nvSpPr>
        <p:spPr>
          <a:xfrm>
            <a:off x="3943074" y="1449337"/>
            <a:ext cx="2056744"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5" name="Přímá spojnice se šipkou 34">
            <a:extLst>
              <a:ext uri="{FF2B5EF4-FFF2-40B4-BE49-F238E27FC236}">
                <a16:creationId xmlns:a16="http://schemas.microsoft.com/office/drawing/2014/main" id="{37C8F71A-D7C8-4BB9-B746-1C7BF1BFECFD}"/>
              </a:ext>
            </a:extLst>
          </p:cNvPr>
          <p:cNvCxnSpPr>
            <a:cxnSpLocks/>
          </p:cNvCxnSpPr>
          <p:nvPr/>
        </p:nvCxnSpPr>
        <p:spPr>
          <a:xfrm>
            <a:off x="3689599" y="3888219"/>
            <a:ext cx="0" cy="7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D5C267BD-CE73-4581-8136-D4EB8F99E51C}"/>
              </a:ext>
            </a:extLst>
          </p:cNvPr>
          <p:cNvCxnSpPr>
            <a:cxnSpLocks/>
          </p:cNvCxnSpPr>
          <p:nvPr/>
        </p:nvCxnSpPr>
        <p:spPr>
          <a:xfrm>
            <a:off x="4125534" y="2119894"/>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Obdélník 37">
            <a:extLst>
              <a:ext uri="{FF2B5EF4-FFF2-40B4-BE49-F238E27FC236}">
                <a16:creationId xmlns:a16="http://schemas.microsoft.com/office/drawing/2014/main" id="{2A67084A-B389-45A0-8B7C-F0EA7AEAFC5F}"/>
              </a:ext>
            </a:extLst>
          </p:cNvPr>
          <p:cNvSpPr/>
          <p:nvPr/>
        </p:nvSpPr>
        <p:spPr>
          <a:xfrm>
            <a:off x="4497162" y="2382063"/>
            <a:ext cx="1103202"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40" name="Přímá spojnice se šipkou 39">
            <a:extLst>
              <a:ext uri="{FF2B5EF4-FFF2-40B4-BE49-F238E27FC236}">
                <a16:creationId xmlns:a16="http://schemas.microsoft.com/office/drawing/2014/main" id="{DC315206-957F-44A0-AE1F-ADC78220A94B}"/>
              </a:ext>
            </a:extLst>
          </p:cNvPr>
          <p:cNvCxnSpPr>
            <a:cxnSpLocks/>
          </p:cNvCxnSpPr>
          <p:nvPr/>
        </p:nvCxnSpPr>
        <p:spPr>
          <a:xfrm>
            <a:off x="3906188" y="2119894"/>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3CE75A8D-715F-47AC-BCC6-610C870C5798}"/>
              </a:ext>
            </a:extLst>
          </p:cNvPr>
          <p:cNvSpPr/>
          <p:nvPr/>
        </p:nvSpPr>
        <p:spPr>
          <a:xfrm>
            <a:off x="6682220" y="1172952"/>
            <a:ext cx="1251815"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3" name="Přímá spojnice se šipkou 22">
            <a:extLst>
              <a:ext uri="{FF2B5EF4-FFF2-40B4-BE49-F238E27FC236}">
                <a16:creationId xmlns:a16="http://schemas.microsoft.com/office/drawing/2014/main" id="{0106EEE2-F940-4B4C-892C-D0BF38CA4A1F}"/>
              </a:ext>
            </a:extLst>
          </p:cNvPr>
          <p:cNvCxnSpPr>
            <a:cxnSpLocks/>
          </p:cNvCxnSpPr>
          <p:nvPr/>
        </p:nvCxnSpPr>
        <p:spPr>
          <a:xfrm>
            <a:off x="6875384" y="1590030"/>
            <a:ext cx="0" cy="190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74FA307E-ECE4-4EBF-898A-5782BFE0CDF9}"/>
              </a:ext>
            </a:extLst>
          </p:cNvPr>
          <p:cNvCxnSpPr>
            <a:cxnSpLocks/>
          </p:cNvCxnSpPr>
          <p:nvPr/>
        </p:nvCxnSpPr>
        <p:spPr>
          <a:xfrm>
            <a:off x="4578598" y="2692591"/>
            <a:ext cx="0" cy="180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Obdélník 24">
            <a:extLst>
              <a:ext uri="{FF2B5EF4-FFF2-40B4-BE49-F238E27FC236}">
                <a16:creationId xmlns:a16="http://schemas.microsoft.com/office/drawing/2014/main" id="{B5DFB1C2-4D43-4F55-A1EA-799240C306AE}"/>
              </a:ext>
            </a:extLst>
          </p:cNvPr>
          <p:cNvSpPr/>
          <p:nvPr/>
        </p:nvSpPr>
        <p:spPr>
          <a:xfrm>
            <a:off x="3460788" y="2323090"/>
            <a:ext cx="583573" cy="1523494"/>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11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77641CA5-5EE1-48DD-B04C-899F77A431CE}"/>
              </a:ext>
            </a:extLst>
          </p:cNvPr>
          <p:cNvCxnSpPr>
            <a:cxnSpLocks/>
          </p:cNvCxnSpPr>
          <p:nvPr/>
        </p:nvCxnSpPr>
        <p:spPr>
          <a:xfrm>
            <a:off x="3437174" y="2158615"/>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E5E9D7FF-7952-4EC0-8554-4EF33D9614C9}"/>
              </a:ext>
            </a:extLst>
          </p:cNvPr>
          <p:cNvCxnSpPr>
            <a:cxnSpLocks/>
          </p:cNvCxnSpPr>
          <p:nvPr/>
        </p:nvCxnSpPr>
        <p:spPr>
          <a:xfrm>
            <a:off x="8208884" y="2999730"/>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Obdélník 33">
            <a:extLst>
              <a:ext uri="{FF2B5EF4-FFF2-40B4-BE49-F238E27FC236}">
                <a16:creationId xmlns:a16="http://schemas.microsoft.com/office/drawing/2014/main" id="{CC967854-4502-46B4-B642-2CD3604E279B}"/>
              </a:ext>
            </a:extLst>
          </p:cNvPr>
          <p:cNvSpPr/>
          <p:nvPr/>
        </p:nvSpPr>
        <p:spPr>
          <a:xfrm>
            <a:off x="7634960" y="2503862"/>
            <a:ext cx="1765142" cy="461665"/>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obnovení prezenční </a:t>
            </a:r>
            <a:r>
              <a:rPr lang="cs-CZ" sz="1000" b="1" i="1" dirty="0">
                <a:solidFill>
                  <a:srgbClr val="000000"/>
                </a:solidFill>
              </a:rPr>
              <a:t>výuky v nižších ročnících ZŠ, rotační režimy </a:t>
            </a:r>
            <a:endParaRPr lang="cs-CZ" sz="1000" b="1" i="1" dirty="0">
              <a:solidFill>
                <a:srgbClr val="000000"/>
              </a:solidFill>
              <a:latin typeface="Arial" panose="020B0604020202020204"/>
            </a:endParaRPr>
          </a:p>
        </p:txBody>
      </p:sp>
    </p:spTree>
    <p:extLst>
      <p:ext uri="{BB962C8B-B14F-4D97-AF65-F5344CB8AC3E}">
        <p14:creationId xmlns:p14="http://schemas.microsoft.com/office/powerpoint/2010/main" val="1204288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88968314"/>
              </p:ext>
            </p:extLst>
          </p:nvPr>
        </p:nvGraphicFramePr>
        <p:xfrm>
          <a:off x="377483" y="1075271"/>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C851AAD0-9CCC-4CB3-97FD-294E3F62E4CD}"/>
              </a:ext>
            </a:extLst>
          </p:cNvPr>
          <p:cNvSpPr/>
          <p:nvPr/>
        </p:nvSpPr>
        <p:spPr>
          <a:xfrm>
            <a:off x="702677" y="1437702"/>
            <a:ext cx="1396776"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16" name="Přímá spojnice se šipkou 15">
            <a:extLst>
              <a:ext uri="{FF2B5EF4-FFF2-40B4-BE49-F238E27FC236}">
                <a16:creationId xmlns:a16="http://schemas.microsoft.com/office/drawing/2014/main" id="{6604DACF-C628-47D5-9F5D-C70D5FB84CB1}"/>
              </a:ext>
            </a:extLst>
          </p:cNvPr>
          <p:cNvCxnSpPr>
            <a:cxnSpLocks/>
          </p:cNvCxnSpPr>
          <p:nvPr/>
        </p:nvCxnSpPr>
        <p:spPr>
          <a:xfrm>
            <a:off x="1484047" y="2143096"/>
            <a:ext cx="0" cy="24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Tabulka 17">
            <a:extLst>
              <a:ext uri="{FF2B5EF4-FFF2-40B4-BE49-F238E27FC236}">
                <a16:creationId xmlns:a16="http://schemas.microsoft.com/office/drawing/2014/main" id="{AD4155A0-CB25-4029-ADA3-1EBCB7C050F3}"/>
              </a:ext>
            </a:extLst>
          </p:cNvPr>
          <p:cNvGraphicFramePr>
            <a:graphicFrameLocks noGrp="1"/>
          </p:cNvGraphicFramePr>
          <p:nvPr>
            <p:extLst>
              <p:ext uri="{D42A27DB-BD31-4B8C-83A1-F6EECF244321}">
                <p14:modId xmlns:p14="http://schemas.microsoft.com/office/powerpoint/2010/main" val="2191989400"/>
              </p:ext>
            </p:extLst>
          </p:nvPr>
        </p:nvGraphicFramePr>
        <p:xfrm>
          <a:off x="222407" y="6020044"/>
          <a:ext cx="8972521" cy="375285"/>
        </p:xfrm>
        <a:graphic>
          <a:graphicData uri="http://schemas.openxmlformats.org/drawingml/2006/table">
            <a:tbl>
              <a:tblPr/>
              <a:tblGrid>
                <a:gridCol w="584200">
                  <a:extLst>
                    <a:ext uri="{9D8B030D-6E8A-4147-A177-3AD203B41FA5}">
                      <a16:colId xmlns:a16="http://schemas.microsoft.com/office/drawing/2014/main" val="3477426339"/>
                    </a:ext>
                  </a:extLst>
                </a:gridCol>
                <a:gridCol w="270591">
                  <a:extLst>
                    <a:ext uri="{9D8B030D-6E8A-4147-A177-3AD203B41FA5}">
                      <a16:colId xmlns:a16="http://schemas.microsoft.com/office/drawing/2014/main" val="3139665668"/>
                    </a:ext>
                  </a:extLst>
                </a:gridCol>
                <a:gridCol w="270591">
                  <a:extLst>
                    <a:ext uri="{9D8B030D-6E8A-4147-A177-3AD203B41FA5}">
                      <a16:colId xmlns:a16="http://schemas.microsoft.com/office/drawing/2014/main" val="1981226541"/>
                    </a:ext>
                  </a:extLst>
                </a:gridCol>
                <a:gridCol w="270591">
                  <a:extLst>
                    <a:ext uri="{9D8B030D-6E8A-4147-A177-3AD203B41FA5}">
                      <a16:colId xmlns:a16="http://schemas.microsoft.com/office/drawing/2014/main" val="968144063"/>
                    </a:ext>
                  </a:extLst>
                </a:gridCol>
                <a:gridCol w="270591">
                  <a:extLst>
                    <a:ext uri="{9D8B030D-6E8A-4147-A177-3AD203B41FA5}">
                      <a16:colId xmlns:a16="http://schemas.microsoft.com/office/drawing/2014/main" val="2982776992"/>
                    </a:ext>
                  </a:extLst>
                </a:gridCol>
                <a:gridCol w="270591">
                  <a:extLst>
                    <a:ext uri="{9D8B030D-6E8A-4147-A177-3AD203B41FA5}">
                      <a16:colId xmlns:a16="http://schemas.microsoft.com/office/drawing/2014/main" val="280725461"/>
                    </a:ext>
                  </a:extLst>
                </a:gridCol>
                <a:gridCol w="270591">
                  <a:extLst>
                    <a:ext uri="{9D8B030D-6E8A-4147-A177-3AD203B41FA5}">
                      <a16:colId xmlns:a16="http://schemas.microsoft.com/office/drawing/2014/main" val="1598498311"/>
                    </a:ext>
                  </a:extLst>
                </a:gridCol>
                <a:gridCol w="270591">
                  <a:extLst>
                    <a:ext uri="{9D8B030D-6E8A-4147-A177-3AD203B41FA5}">
                      <a16:colId xmlns:a16="http://schemas.microsoft.com/office/drawing/2014/main" val="863233711"/>
                    </a:ext>
                  </a:extLst>
                </a:gridCol>
                <a:gridCol w="270591">
                  <a:extLst>
                    <a:ext uri="{9D8B030D-6E8A-4147-A177-3AD203B41FA5}">
                      <a16:colId xmlns:a16="http://schemas.microsoft.com/office/drawing/2014/main" val="4073724623"/>
                    </a:ext>
                  </a:extLst>
                </a:gridCol>
                <a:gridCol w="270591">
                  <a:extLst>
                    <a:ext uri="{9D8B030D-6E8A-4147-A177-3AD203B41FA5}">
                      <a16:colId xmlns:a16="http://schemas.microsoft.com/office/drawing/2014/main" val="2206653859"/>
                    </a:ext>
                  </a:extLst>
                </a:gridCol>
                <a:gridCol w="270591">
                  <a:extLst>
                    <a:ext uri="{9D8B030D-6E8A-4147-A177-3AD203B41FA5}">
                      <a16:colId xmlns:a16="http://schemas.microsoft.com/office/drawing/2014/main" val="2015574779"/>
                    </a:ext>
                  </a:extLst>
                </a:gridCol>
                <a:gridCol w="270591">
                  <a:extLst>
                    <a:ext uri="{9D8B030D-6E8A-4147-A177-3AD203B41FA5}">
                      <a16:colId xmlns:a16="http://schemas.microsoft.com/office/drawing/2014/main" val="2642436505"/>
                    </a:ext>
                  </a:extLst>
                </a:gridCol>
                <a:gridCol w="270591">
                  <a:extLst>
                    <a:ext uri="{9D8B030D-6E8A-4147-A177-3AD203B41FA5}">
                      <a16:colId xmlns:a16="http://schemas.microsoft.com/office/drawing/2014/main" val="3287629853"/>
                    </a:ext>
                  </a:extLst>
                </a:gridCol>
                <a:gridCol w="270591">
                  <a:extLst>
                    <a:ext uri="{9D8B030D-6E8A-4147-A177-3AD203B41FA5}">
                      <a16:colId xmlns:a16="http://schemas.microsoft.com/office/drawing/2014/main" val="3609012166"/>
                    </a:ext>
                  </a:extLst>
                </a:gridCol>
                <a:gridCol w="270591">
                  <a:extLst>
                    <a:ext uri="{9D8B030D-6E8A-4147-A177-3AD203B41FA5}">
                      <a16:colId xmlns:a16="http://schemas.microsoft.com/office/drawing/2014/main" val="3942461538"/>
                    </a:ext>
                  </a:extLst>
                </a:gridCol>
                <a:gridCol w="270591">
                  <a:extLst>
                    <a:ext uri="{9D8B030D-6E8A-4147-A177-3AD203B41FA5}">
                      <a16:colId xmlns:a16="http://schemas.microsoft.com/office/drawing/2014/main" val="1779988971"/>
                    </a:ext>
                  </a:extLst>
                </a:gridCol>
                <a:gridCol w="270591">
                  <a:extLst>
                    <a:ext uri="{9D8B030D-6E8A-4147-A177-3AD203B41FA5}">
                      <a16:colId xmlns:a16="http://schemas.microsoft.com/office/drawing/2014/main" val="404811561"/>
                    </a:ext>
                  </a:extLst>
                </a:gridCol>
                <a:gridCol w="270591">
                  <a:extLst>
                    <a:ext uri="{9D8B030D-6E8A-4147-A177-3AD203B41FA5}">
                      <a16:colId xmlns:a16="http://schemas.microsoft.com/office/drawing/2014/main" val="2383256824"/>
                    </a:ext>
                  </a:extLst>
                </a:gridCol>
                <a:gridCol w="270591">
                  <a:extLst>
                    <a:ext uri="{9D8B030D-6E8A-4147-A177-3AD203B41FA5}">
                      <a16:colId xmlns:a16="http://schemas.microsoft.com/office/drawing/2014/main" val="1731140704"/>
                    </a:ext>
                  </a:extLst>
                </a:gridCol>
                <a:gridCol w="270591">
                  <a:extLst>
                    <a:ext uri="{9D8B030D-6E8A-4147-A177-3AD203B41FA5}">
                      <a16:colId xmlns:a16="http://schemas.microsoft.com/office/drawing/2014/main" val="3740385488"/>
                    </a:ext>
                  </a:extLst>
                </a:gridCol>
                <a:gridCol w="270591">
                  <a:extLst>
                    <a:ext uri="{9D8B030D-6E8A-4147-A177-3AD203B41FA5}">
                      <a16:colId xmlns:a16="http://schemas.microsoft.com/office/drawing/2014/main" val="245663304"/>
                    </a:ext>
                  </a:extLst>
                </a:gridCol>
                <a:gridCol w="270591">
                  <a:extLst>
                    <a:ext uri="{9D8B030D-6E8A-4147-A177-3AD203B41FA5}">
                      <a16:colId xmlns:a16="http://schemas.microsoft.com/office/drawing/2014/main" val="1902323966"/>
                    </a:ext>
                  </a:extLst>
                </a:gridCol>
                <a:gridCol w="270591">
                  <a:extLst>
                    <a:ext uri="{9D8B030D-6E8A-4147-A177-3AD203B41FA5}">
                      <a16:colId xmlns:a16="http://schemas.microsoft.com/office/drawing/2014/main" val="2085636280"/>
                    </a:ext>
                  </a:extLst>
                </a:gridCol>
                <a:gridCol w="270591">
                  <a:extLst>
                    <a:ext uri="{9D8B030D-6E8A-4147-A177-3AD203B41FA5}">
                      <a16:colId xmlns:a16="http://schemas.microsoft.com/office/drawing/2014/main" val="2746066997"/>
                    </a:ext>
                  </a:extLst>
                </a:gridCol>
                <a:gridCol w="270591">
                  <a:extLst>
                    <a:ext uri="{9D8B030D-6E8A-4147-A177-3AD203B41FA5}">
                      <a16:colId xmlns:a16="http://schemas.microsoft.com/office/drawing/2014/main" val="2106376973"/>
                    </a:ext>
                  </a:extLst>
                </a:gridCol>
                <a:gridCol w="270591">
                  <a:extLst>
                    <a:ext uri="{9D8B030D-6E8A-4147-A177-3AD203B41FA5}">
                      <a16:colId xmlns:a16="http://schemas.microsoft.com/office/drawing/2014/main" val="4178258980"/>
                    </a:ext>
                  </a:extLst>
                </a:gridCol>
                <a:gridCol w="270591">
                  <a:extLst>
                    <a:ext uri="{9D8B030D-6E8A-4147-A177-3AD203B41FA5}">
                      <a16:colId xmlns:a16="http://schemas.microsoft.com/office/drawing/2014/main" val="659127162"/>
                    </a:ext>
                  </a:extLst>
                </a:gridCol>
                <a:gridCol w="270591">
                  <a:extLst>
                    <a:ext uri="{9D8B030D-6E8A-4147-A177-3AD203B41FA5}">
                      <a16:colId xmlns:a16="http://schemas.microsoft.com/office/drawing/2014/main" val="2991818255"/>
                    </a:ext>
                  </a:extLst>
                </a:gridCol>
                <a:gridCol w="270591">
                  <a:extLst>
                    <a:ext uri="{9D8B030D-6E8A-4147-A177-3AD203B41FA5}">
                      <a16:colId xmlns:a16="http://schemas.microsoft.com/office/drawing/2014/main" val="2268431935"/>
                    </a:ext>
                  </a:extLst>
                </a:gridCol>
                <a:gridCol w="270591">
                  <a:extLst>
                    <a:ext uri="{9D8B030D-6E8A-4147-A177-3AD203B41FA5}">
                      <a16:colId xmlns:a16="http://schemas.microsoft.com/office/drawing/2014/main" val="3890538482"/>
                    </a:ext>
                  </a:extLst>
                </a:gridCol>
                <a:gridCol w="270591">
                  <a:extLst>
                    <a:ext uri="{9D8B030D-6E8A-4147-A177-3AD203B41FA5}">
                      <a16:colId xmlns:a16="http://schemas.microsoft.com/office/drawing/2014/main" val="1985610501"/>
                    </a:ext>
                  </a:extLst>
                </a:gridCol>
                <a:gridCol w="270591">
                  <a:extLst>
                    <a:ext uri="{9D8B030D-6E8A-4147-A177-3AD203B41FA5}">
                      <a16:colId xmlns:a16="http://schemas.microsoft.com/office/drawing/2014/main" val="2266257875"/>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 </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dirty="0">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cxnSp>
        <p:nvCxnSpPr>
          <p:cNvPr id="13" name="Přímá spojnice se šipkou 12">
            <a:extLst>
              <a:ext uri="{FF2B5EF4-FFF2-40B4-BE49-F238E27FC236}">
                <a16:creationId xmlns:a16="http://schemas.microsoft.com/office/drawing/2014/main" id="{42BE788C-2746-47FB-B5C4-6B91477E3C21}"/>
              </a:ext>
            </a:extLst>
          </p:cNvPr>
          <p:cNvCxnSpPr>
            <a:cxnSpLocks/>
          </p:cNvCxnSpPr>
          <p:nvPr/>
        </p:nvCxnSpPr>
        <p:spPr>
          <a:xfrm>
            <a:off x="2050624" y="2129695"/>
            <a:ext cx="0" cy="252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Obdélník 18">
            <a:extLst>
              <a:ext uri="{FF2B5EF4-FFF2-40B4-BE49-F238E27FC236}">
                <a16:creationId xmlns:a16="http://schemas.microsoft.com/office/drawing/2014/main" id="{3ECFEC4F-9DD9-41B5-A5DA-B515AFA6140B}"/>
              </a:ext>
            </a:extLst>
          </p:cNvPr>
          <p:cNvSpPr/>
          <p:nvPr/>
        </p:nvSpPr>
        <p:spPr>
          <a:xfrm>
            <a:off x="2085332" y="1575465"/>
            <a:ext cx="1396776"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Obdélník 19">
            <a:extLst>
              <a:ext uri="{FF2B5EF4-FFF2-40B4-BE49-F238E27FC236}">
                <a16:creationId xmlns:a16="http://schemas.microsoft.com/office/drawing/2014/main" id="{D269EF86-5269-4092-BB7B-F7CEABF9B3F7}"/>
              </a:ext>
            </a:extLst>
          </p:cNvPr>
          <p:cNvSpPr/>
          <p:nvPr/>
        </p:nvSpPr>
        <p:spPr>
          <a:xfrm>
            <a:off x="1493407" y="2240911"/>
            <a:ext cx="558134" cy="1523494"/>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9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1" name="Přímá spojnice se šipkou 20">
            <a:extLst>
              <a:ext uri="{FF2B5EF4-FFF2-40B4-BE49-F238E27FC236}">
                <a16:creationId xmlns:a16="http://schemas.microsoft.com/office/drawing/2014/main" id="{8AF19673-02A4-45E4-8D6E-55EC62D1B4C6}"/>
              </a:ext>
            </a:extLst>
          </p:cNvPr>
          <p:cNvCxnSpPr>
            <a:cxnSpLocks/>
          </p:cNvCxnSpPr>
          <p:nvPr/>
        </p:nvCxnSpPr>
        <p:spPr>
          <a:xfrm>
            <a:off x="1755598" y="3840092"/>
            <a:ext cx="0" cy="97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Obdélník 22">
            <a:extLst>
              <a:ext uri="{FF2B5EF4-FFF2-40B4-BE49-F238E27FC236}">
                <a16:creationId xmlns:a16="http://schemas.microsoft.com/office/drawing/2014/main" id="{FD6D1DCA-1D16-4055-9292-F28F05994DE5}"/>
              </a:ext>
            </a:extLst>
          </p:cNvPr>
          <p:cNvSpPr/>
          <p:nvPr/>
        </p:nvSpPr>
        <p:spPr>
          <a:xfrm>
            <a:off x="2146542" y="2119760"/>
            <a:ext cx="1105898" cy="615553"/>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Obdélník 25">
            <a:extLst>
              <a:ext uri="{FF2B5EF4-FFF2-40B4-BE49-F238E27FC236}">
                <a16:creationId xmlns:a16="http://schemas.microsoft.com/office/drawing/2014/main" id="{94B86B9E-5EC6-42A6-BAC4-82FF1F5A1744}"/>
              </a:ext>
            </a:extLst>
          </p:cNvPr>
          <p:cNvSpPr/>
          <p:nvPr/>
        </p:nvSpPr>
        <p:spPr>
          <a:xfrm>
            <a:off x="2764757" y="2869448"/>
            <a:ext cx="1056264"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21. 12. do 3.1. vánoční školní prázdniny</a:t>
            </a:r>
            <a:endParaRPr lang="cs-CZ" sz="1000" i="1" dirty="0">
              <a:solidFill>
                <a:srgbClr val="000000"/>
              </a:solidFill>
            </a:endParaRPr>
          </a:p>
        </p:txBody>
      </p:sp>
      <p:cxnSp>
        <p:nvCxnSpPr>
          <p:cNvPr id="24" name="Přímá spojnice se šipkou 23">
            <a:extLst>
              <a:ext uri="{FF2B5EF4-FFF2-40B4-BE49-F238E27FC236}">
                <a16:creationId xmlns:a16="http://schemas.microsoft.com/office/drawing/2014/main" id="{E7C28CF4-943C-4A4B-8E8E-A92DF5AFFA46}"/>
              </a:ext>
            </a:extLst>
          </p:cNvPr>
          <p:cNvCxnSpPr>
            <a:cxnSpLocks/>
          </p:cNvCxnSpPr>
          <p:nvPr/>
        </p:nvCxnSpPr>
        <p:spPr>
          <a:xfrm>
            <a:off x="2281675" y="2771767"/>
            <a:ext cx="0" cy="10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27019B32-2923-4CA9-8C96-1A7F53419F16}"/>
              </a:ext>
            </a:extLst>
          </p:cNvPr>
          <p:cNvCxnSpPr>
            <a:cxnSpLocks/>
          </p:cNvCxnSpPr>
          <p:nvPr/>
        </p:nvCxnSpPr>
        <p:spPr>
          <a:xfrm>
            <a:off x="2847655" y="3256667"/>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Obdélník 27">
            <a:extLst>
              <a:ext uri="{FF2B5EF4-FFF2-40B4-BE49-F238E27FC236}">
                <a16:creationId xmlns:a16="http://schemas.microsoft.com/office/drawing/2014/main" id="{8E345770-B2A8-44C3-B5A2-C5628271ED3C}"/>
              </a:ext>
            </a:extLst>
          </p:cNvPr>
          <p:cNvSpPr/>
          <p:nvPr/>
        </p:nvSpPr>
        <p:spPr>
          <a:xfrm>
            <a:off x="5318091" y="1401527"/>
            <a:ext cx="1260162"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9" name="Přímá spojnice se šipkou 28">
            <a:extLst>
              <a:ext uri="{FF2B5EF4-FFF2-40B4-BE49-F238E27FC236}">
                <a16:creationId xmlns:a16="http://schemas.microsoft.com/office/drawing/2014/main" id="{1F56069C-7AD8-4F22-8580-0C391DD85223}"/>
              </a:ext>
            </a:extLst>
          </p:cNvPr>
          <p:cNvCxnSpPr>
            <a:cxnSpLocks/>
          </p:cNvCxnSpPr>
          <p:nvPr/>
        </p:nvCxnSpPr>
        <p:spPr>
          <a:xfrm>
            <a:off x="5505805" y="1828072"/>
            <a:ext cx="0" cy="176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Přímá spojnice se šipkou 24">
            <a:extLst>
              <a:ext uri="{FF2B5EF4-FFF2-40B4-BE49-F238E27FC236}">
                <a16:creationId xmlns:a16="http://schemas.microsoft.com/office/drawing/2014/main" id="{A1AF6B70-C1FD-4512-8550-92011D53E670}"/>
              </a:ext>
            </a:extLst>
          </p:cNvPr>
          <p:cNvCxnSpPr>
            <a:cxnSpLocks/>
          </p:cNvCxnSpPr>
          <p:nvPr/>
        </p:nvCxnSpPr>
        <p:spPr>
          <a:xfrm>
            <a:off x="7123234" y="2994102"/>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7230C90F-1B51-4CEF-9692-B7F8D3BC4D36}"/>
              </a:ext>
            </a:extLst>
          </p:cNvPr>
          <p:cNvSpPr/>
          <p:nvPr/>
        </p:nvSpPr>
        <p:spPr>
          <a:xfrm>
            <a:off x="6681744" y="2503862"/>
            <a:ext cx="1765142" cy="461665"/>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obnovení prezenční </a:t>
            </a:r>
            <a:r>
              <a:rPr lang="cs-CZ" sz="1000" b="1" i="1" dirty="0">
                <a:solidFill>
                  <a:srgbClr val="000000"/>
                </a:solidFill>
              </a:rPr>
              <a:t>výuky v nižších ročnících ZŠ, rotační režimy </a:t>
            </a:r>
            <a:endParaRPr lang="cs-CZ" sz="1000" b="1" i="1" dirty="0">
              <a:solidFill>
                <a:srgbClr val="000000"/>
              </a:solidFill>
              <a:latin typeface="Arial" panose="020B0604020202020204"/>
            </a:endParaRPr>
          </a:p>
        </p:txBody>
      </p:sp>
    </p:spTree>
    <p:extLst>
      <p:ext uri="{BB962C8B-B14F-4D97-AF65-F5344CB8AC3E}">
        <p14:creationId xmlns:p14="http://schemas.microsoft.com/office/powerpoint/2010/main" val="3297205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68242" y="259157"/>
            <a:ext cx="11407077" cy="3693319"/>
          </a:xfrm>
          <a:prstGeom prst="rect">
            <a:avLst/>
          </a:prstGeom>
          <a:noFill/>
        </p:spPr>
        <p:txBody>
          <a:bodyPr wrap="square" rtlCol="0">
            <a:spAutoFit/>
          </a:bodyPr>
          <a:lstStyle/>
          <a:p>
            <a:pPr algn="ctr">
              <a:defRPr/>
            </a:pPr>
            <a:r>
              <a:rPr kumimoji="0" lang="cs-CZ" sz="2600" b="1" i="0" u="none" strike="noStrike" kern="1200" cap="none" spc="0" normalizeH="0" baseline="0" noProof="0" dirty="0">
                <a:ln>
                  <a:noFill/>
                </a:ln>
                <a:solidFill>
                  <a:prstClr val="black"/>
                </a:solidFill>
                <a:effectLst/>
                <a:uLnTx/>
                <a:uFillTx/>
                <a:latin typeface="Calibri" panose="020F0502020204030204"/>
              </a:rPr>
              <a:t>Pro hodnocení míst nákazy jsou dostupné dva zásadní zdroje údajů. Kromě údajů sbíraných na individuální úrovni o nakažených v centrální databázi ISIN jsou k dispozici souhrnné informace o ohniscích nákazy, které identifikují </a:t>
            </a:r>
            <a:r>
              <a:rPr kumimoji="0" lang="cs-CZ" sz="2600" b="1" i="0" u="none" strike="noStrike" kern="1200" cap="none" spc="0" normalizeH="0" baseline="0" dirty="0">
                <a:ln>
                  <a:noFill/>
                </a:ln>
                <a:solidFill>
                  <a:prstClr val="black"/>
                </a:solidFill>
                <a:effectLst/>
                <a:uLnTx/>
                <a:uFillTx/>
                <a:latin typeface="Calibri" panose="020F0502020204030204"/>
              </a:rPr>
              <a:t>pracovníci KHS </a:t>
            </a:r>
            <a:r>
              <a:rPr kumimoji="0" lang="cs-CZ" sz="2600" b="1" i="0" u="none" strike="noStrike" kern="1200" cap="none" spc="0" normalizeH="0" baseline="0" dirty="0">
                <a:ln>
                  <a:noFill/>
                </a:ln>
                <a:effectLst/>
                <a:uLnTx/>
                <a:uFillTx/>
                <a:latin typeface="Calibri" panose="020F0502020204030204"/>
              </a:rPr>
              <a:t>při epidemiologickém šetření a zapisují je do databáze </a:t>
            </a:r>
            <a:r>
              <a:rPr kumimoji="0" lang="cs-CZ" sz="2600" b="1" i="0" u="none" strike="noStrike" kern="1200" cap="none" spc="0" normalizeH="0" baseline="0" dirty="0" err="1">
                <a:ln>
                  <a:noFill/>
                </a:ln>
                <a:effectLst/>
                <a:uLnTx/>
                <a:uFillTx/>
                <a:latin typeface="Calibri" panose="020F0502020204030204"/>
              </a:rPr>
              <a:t>Covid</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Forms</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App</a:t>
            </a:r>
            <a:r>
              <a:rPr kumimoji="0" lang="cs-CZ" sz="2600" b="1" i="0" u="none" strike="noStrike" kern="1200" cap="none" spc="0" normalizeH="0" baseline="0" dirty="0">
                <a:ln>
                  <a:noFill/>
                </a:ln>
                <a:effectLst/>
                <a:uLnTx/>
                <a:uFillTx/>
                <a:latin typeface="Calibri" panose="020F0502020204030204"/>
              </a:rPr>
              <a:t>. </a:t>
            </a:r>
          </a:p>
          <a:p>
            <a:pPr algn="ctr">
              <a:defRPr/>
            </a:pPr>
            <a:endParaRPr lang="cs-CZ" sz="2600" b="1" dirty="0">
              <a:latin typeface="Calibri" panose="020F0502020204030204"/>
            </a:endParaRPr>
          </a:p>
          <a:p>
            <a:pPr algn="ctr">
              <a:defRPr/>
            </a:pPr>
            <a:endParaRPr lang="cs-CZ" sz="2600" b="1" dirty="0">
              <a:latin typeface="Calibri" panose="020F0502020204030204"/>
            </a:endParaRPr>
          </a:p>
          <a:p>
            <a:pPr algn="ctr">
              <a:defRPr/>
            </a:pPr>
            <a:r>
              <a:rPr kumimoji="0" lang="cs-CZ" sz="2400" i="0" u="none" strike="noStrike" kern="1200" cap="none" spc="0" normalizeH="0" baseline="0" dirty="0">
                <a:ln>
                  <a:noFill/>
                </a:ln>
                <a:effectLst/>
                <a:uLnTx/>
                <a:uFillTx/>
                <a:latin typeface="Calibri" panose="020F0502020204030204"/>
              </a:rPr>
              <a:t>Oba zdroje</a:t>
            </a:r>
            <a:r>
              <a:rPr kumimoji="0" lang="cs-CZ" sz="2400" i="0" u="none" strike="noStrike" kern="1200" cap="none" spc="0" normalizeH="0" dirty="0">
                <a:ln>
                  <a:noFill/>
                </a:ln>
                <a:effectLst/>
                <a:uLnTx/>
                <a:uFillTx/>
                <a:latin typeface="Calibri" panose="020F0502020204030204"/>
              </a:rPr>
              <a:t> jsou způsobem sběru dat vzájemně nezávisl</a:t>
            </a:r>
            <a:r>
              <a:rPr lang="cs-CZ" sz="2400" dirty="0">
                <a:latin typeface="Calibri" panose="020F0502020204030204"/>
              </a:rPr>
              <a:t>é a nabízejí dva různé úhly pohledu do dané problematiky. Data jsou zpětně doplňována a validována krajskými hygienickými službami. Aktuálně jsou data uzavřena k 4. 6. 2021</a:t>
            </a:r>
            <a:r>
              <a:rPr lang="cs-CZ" sz="2400" dirty="0">
                <a:solidFill>
                  <a:prstClr val="black"/>
                </a:solidFill>
                <a:latin typeface="Calibri" panose="020F0502020204030204"/>
              </a:rPr>
              <a:t>.</a:t>
            </a:r>
            <a:endParaRPr lang="cs-CZ" sz="2400" dirty="0">
              <a:latin typeface="Calibri" panose="020F0502020204030204"/>
            </a:endParaRPr>
          </a:p>
        </p:txBody>
      </p:sp>
      <p:sp>
        <p:nvSpPr>
          <p:cNvPr id="5" name="Šipka dolů 4"/>
          <p:cNvSpPr/>
          <p:nvPr/>
        </p:nvSpPr>
        <p:spPr>
          <a:xfrm>
            <a:off x="5624092" y="4100875"/>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bdélník 3">
            <a:extLst>
              <a:ext uri="{FF2B5EF4-FFF2-40B4-BE49-F238E27FC236}">
                <a16:creationId xmlns:a16="http://schemas.microsoft.com/office/drawing/2014/main" id="{8550825A-1347-4E18-8BC0-81FBBAAA220D}"/>
              </a:ext>
            </a:extLst>
          </p:cNvPr>
          <p:cNvSpPr/>
          <p:nvPr/>
        </p:nvSpPr>
        <p:spPr>
          <a:xfrm>
            <a:off x="240056" y="4739045"/>
            <a:ext cx="11863448" cy="16927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C00000"/>
                </a:solidFill>
                <a:effectLst/>
                <a:uLnTx/>
                <a:uFillTx/>
                <a:latin typeface="Calibri" panose="020F0502020204030204"/>
              </a:rPr>
              <a:t>Hlášení o epidemických událostech a ohniscích</a:t>
            </a:r>
            <a:r>
              <a:rPr kumimoji="0" lang="cs-CZ" sz="2600" b="1" i="0" u="none" strike="noStrike" kern="1200" cap="none" spc="0" normalizeH="0" noProof="0" dirty="0">
                <a:ln>
                  <a:noFill/>
                </a:ln>
                <a:solidFill>
                  <a:srgbClr val="C00000"/>
                </a:solidFill>
                <a:effectLst/>
                <a:uLnTx/>
                <a:uFillTx/>
                <a:latin typeface="Calibri" panose="020F0502020204030204"/>
              </a:rPr>
              <a:t> je plně pod metodickou kontrol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noProof="0" dirty="0">
                <a:ln>
                  <a:noFill/>
                </a:ln>
                <a:solidFill>
                  <a:srgbClr val="C00000"/>
                </a:solidFill>
                <a:effectLst/>
                <a:uLnTx/>
                <a:uFillTx/>
                <a:latin typeface="Calibri" panose="020F0502020204030204"/>
              </a:rPr>
              <a:t>a kuratelou expertů KHS. Tato prezentace pouze shrnuje jimi provedená hlášení. </a:t>
            </a:r>
            <a:r>
              <a:rPr kumimoji="0" lang="cs-CZ" sz="2600" b="1" i="0" u="none" strike="noStrike" kern="1200" cap="none" spc="0" normalizeH="0" baseline="0" noProof="0" dirty="0">
                <a:ln>
                  <a:noFill/>
                </a:ln>
                <a:solidFill>
                  <a:srgbClr val="C00000"/>
                </a:solidFill>
                <a:effectLst/>
                <a:uLnTx/>
                <a:uFillTx/>
                <a:latin typeface="Calibri" panose="020F0502020204030204"/>
              </a:rPr>
              <a:t>Celkově bylo od května 2020 k 4. 6. 2021 takto ze strany KHS identifikováno </a:t>
            </a:r>
          </a:p>
          <a:p>
            <a:pPr lvl="0" algn="ctr">
              <a:defRPr/>
            </a:pPr>
            <a:r>
              <a:rPr kumimoji="0" lang="cs-CZ" sz="2600" b="1" i="0" u="none" strike="noStrike" kern="1200" cap="none" spc="0" normalizeH="0" baseline="0" noProof="0" dirty="0">
                <a:ln>
                  <a:noFill/>
                </a:ln>
                <a:solidFill>
                  <a:srgbClr val="C00000"/>
                </a:solidFill>
                <a:effectLst/>
                <a:uLnTx/>
                <a:uFillTx/>
                <a:latin typeface="Calibri" panose="020F0502020204030204"/>
              </a:rPr>
              <a:t>a doloženo </a:t>
            </a:r>
            <a:r>
              <a:rPr lang="cs-CZ" sz="2600" b="1" dirty="0">
                <a:solidFill>
                  <a:srgbClr val="C00000"/>
                </a:solidFill>
                <a:latin typeface="Calibri" panose="020F0502020204030204"/>
              </a:rPr>
              <a:t>2 663</a:t>
            </a:r>
            <a:r>
              <a:rPr kumimoji="0" lang="cs-CZ" sz="2600" b="1" i="0" u="none" strike="noStrike" kern="1200" cap="none" spc="0" normalizeH="0" baseline="0" noProof="0" dirty="0">
                <a:ln>
                  <a:noFill/>
                </a:ln>
                <a:solidFill>
                  <a:srgbClr val="C00000"/>
                </a:solidFill>
                <a:effectLst/>
                <a:uLnTx/>
                <a:uFillTx/>
                <a:latin typeface="Calibri" panose="020F0502020204030204"/>
              </a:rPr>
              <a:t> ohnisek ve školských zařízeních s </a:t>
            </a:r>
            <a:r>
              <a:rPr lang="cs-CZ" sz="2600" b="1" dirty="0">
                <a:solidFill>
                  <a:srgbClr val="C00000"/>
                </a:solidFill>
                <a:latin typeface="Calibri" panose="020F0502020204030204"/>
              </a:rPr>
              <a:t>12 250</a:t>
            </a:r>
            <a:r>
              <a:rPr kumimoji="0" lang="cs-CZ" sz="2600" b="1" i="0" u="none" strike="noStrike" kern="1200" cap="none" spc="0" normalizeH="0" baseline="0" noProof="0" dirty="0">
                <a:ln>
                  <a:noFill/>
                </a:ln>
                <a:solidFill>
                  <a:srgbClr val="C00000"/>
                </a:solidFill>
                <a:effectLst/>
                <a:uLnTx/>
                <a:uFillTx/>
                <a:latin typeface="Calibri" panose="020F0502020204030204"/>
              </a:rPr>
              <a:t> pozitivními osobami. </a:t>
            </a:r>
            <a:endParaRPr kumimoji="0" lang="cs-CZ" sz="2600" b="0" i="0" u="none" strike="noStrike" kern="1200" cap="none" spc="0" normalizeH="0" baseline="0" noProof="0" dirty="0">
              <a:ln>
                <a:noFill/>
              </a:ln>
              <a:solidFill>
                <a:srgbClr val="C00000"/>
              </a:solidFill>
              <a:effectLst/>
              <a:uLnTx/>
              <a:uFillTx/>
              <a:latin typeface="Arial" panose="020B0604020202020204"/>
            </a:endParaRPr>
          </a:p>
        </p:txBody>
      </p:sp>
      <p:sp>
        <p:nvSpPr>
          <p:cNvPr id="7" name="Šipka dolů 6"/>
          <p:cNvSpPr/>
          <p:nvPr/>
        </p:nvSpPr>
        <p:spPr>
          <a:xfrm>
            <a:off x="5624094" y="2075230"/>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6769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mateřské školy* </a:t>
            </a:r>
            <a:endParaRPr lang="cs-CZ" sz="2000" dirty="0"/>
          </a:p>
        </p:txBody>
      </p:sp>
      <p:graphicFrame>
        <p:nvGraphicFramePr>
          <p:cNvPr id="4" name="Graf 3">
            <a:extLst>
              <a:ext uri="{FF2B5EF4-FFF2-40B4-BE49-F238E27FC236}">
                <a16:creationId xmlns:a16="http://schemas.microsoft.com/office/drawing/2014/main" id="{D8F24F05-8767-4489-9667-1CF7D4462FE7}"/>
              </a:ext>
            </a:extLst>
          </p:cNvPr>
          <p:cNvGraphicFramePr/>
          <p:nvPr>
            <p:extLst>
              <p:ext uri="{D42A27DB-BD31-4B8C-83A1-F6EECF244321}">
                <p14:modId xmlns:p14="http://schemas.microsoft.com/office/powerpoint/2010/main" val="1514738869"/>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5" name="Obdélník 4">
            <a:extLst>
              <a:ext uri="{FF2B5EF4-FFF2-40B4-BE49-F238E27FC236}">
                <a16:creationId xmlns:a16="http://schemas.microsoft.com/office/drawing/2014/main" id="{9280CB1A-142C-43EA-B552-572D33094BF2}"/>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7" name="Tabulka 6">
            <a:extLst>
              <a:ext uri="{FF2B5EF4-FFF2-40B4-BE49-F238E27FC236}">
                <a16:creationId xmlns:a16="http://schemas.microsoft.com/office/drawing/2014/main" id="{2D6FA3F8-E8A1-4F64-BF82-5C5DE7A45B2E}"/>
              </a:ext>
            </a:extLst>
          </p:cNvPr>
          <p:cNvGraphicFramePr>
            <a:graphicFrameLocks noGrp="1"/>
          </p:cNvGraphicFramePr>
          <p:nvPr>
            <p:extLst>
              <p:ext uri="{D42A27DB-BD31-4B8C-83A1-F6EECF244321}">
                <p14:modId xmlns:p14="http://schemas.microsoft.com/office/powerpoint/2010/main" val="1954827317"/>
              </p:ext>
            </p:extLst>
          </p:nvPr>
        </p:nvGraphicFramePr>
        <p:xfrm>
          <a:off x="66674" y="3474332"/>
          <a:ext cx="12030606" cy="3086130"/>
        </p:xfrm>
        <a:graphic>
          <a:graphicData uri="http://schemas.openxmlformats.org/drawingml/2006/table">
            <a:tbl>
              <a:tblPr/>
              <a:tblGrid>
                <a:gridCol w="539668">
                  <a:extLst>
                    <a:ext uri="{9D8B030D-6E8A-4147-A177-3AD203B41FA5}">
                      <a16:colId xmlns:a16="http://schemas.microsoft.com/office/drawing/2014/main" val="1148265902"/>
                    </a:ext>
                  </a:extLst>
                </a:gridCol>
                <a:gridCol w="285608">
                  <a:extLst>
                    <a:ext uri="{9D8B030D-6E8A-4147-A177-3AD203B41FA5}">
                      <a16:colId xmlns:a16="http://schemas.microsoft.com/office/drawing/2014/main" val="4204192688"/>
                    </a:ext>
                  </a:extLst>
                </a:gridCol>
                <a:gridCol w="285608">
                  <a:extLst>
                    <a:ext uri="{9D8B030D-6E8A-4147-A177-3AD203B41FA5}">
                      <a16:colId xmlns:a16="http://schemas.microsoft.com/office/drawing/2014/main" val="2832739057"/>
                    </a:ext>
                  </a:extLst>
                </a:gridCol>
                <a:gridCol w="285608">
                  <a:extLst>
                    <a:ext uri="{9D8B030D-6E8A-4147-A177-3AD203B41FA5}">
                      <a16:colId xmlns:a16="http://schemas.microsoft.com/office/drawing/2014/main" val="2099542548"/>
                    </a:ext>
                  </a:extLst>
                </a:gridCol>
                <a:gridCol w="285608">
                  <a:extLst>
                    <a:ext uri="{9D8B030D-6E8A-4147-A177-3AD203B41FA5}">
                      <a16:colId xmlns:a16="http://schemas.microsoft.com/office/drawing/2014/main" val="2917192428"/>
                    </a:ext>
                  </a:extLst>
                </a:gridCol>
                <a:gridCol w="285608">
                  <a:extLst>
                    <a:ext uri="{9D8B030D-6E8A-4147-A177-3AD203B41FA5}">
                      <a16:colId xmlns:a16="http://schemas.microsoft.com/office/drawing/2014/main" val="3303836253"/>
                    </a:ext>
                  </a:extLst>
                </a:gridCol>
                <a:gridCol w="285608">
                  <a:extLst>
                    <a:ext uri="{9D8B030D-6E8A-4147-A177-3AD203B41FA5}">
                      <a16:colId xmlns:a16="http://schemas.microsoft.com/office/drawing/2014/main" val="1523759964"/>
                    </a:ext>
                  </a:extLst>
                </a:gridCol>
                <a:gridCol w="285608">
                  <a:extLst>
                    <a:ext uri="{9D8B030D-6E8A-4147-A177-3AD203B41FA5}">
                      <a16:colId xmlns:a16="http://schemas.microsoft.com/office/drawing/2014/main" val="2337675349"/>
                    </a:ext>
                  </a:extLst>
                </a:gridCol>
                <a:gridCol w="285608">
                  <a:extLst>
                    <a:ext uri="{9D8B030D-6E8A-4147-A177-3AD203B41FA5}">
                      <a16:colId xmlns:a16="http://schemas.microsoft.com/office/drawing/2014/main" val="4089801870"/>
                    </a:ext>
                  </a:extLst>
                </a:gridCol>
                <a:gridCol w="285608">
                  <a:extLst>
                    <a:ext uri="{9D8B030D-6E8A-4147-A177-3AD203B41FA5}">
                      <a16:colId xmlns:a16="http://schemas.microsoft.com/office/drawing/2014/main" val="438152286"/>
                    </a:ext>
                  </a:extLst>
                </a:gridCol>
                <a:gridCol w="285608">
                  <a:extLst>
                    <a:ext uri="{9D8B030D-6E8A-4147-A177-3AD203B41FA5}">
                      <a16:colId xmlns:a16="http://schemas.microsoft.com/office/drawing/2014/main" val="638801499"/>
                    </a:ext>
                  </a:extLst>
                </a:gridCol>
                <a:gridCol w="285608">
                  <a:extLst>
                    <a:ext uri="{9D8B030D-6E8A-4147-A177-3AD203B41FA5}">
                      <a16:colId xmlns:a16="http://schemas.microsoft.com/office/drawing/2014/main" val="3950936490"/>
                    </a:ext>
                  </a:extLst>
                </a:gridCol>
                <a:gridCol w="285608">
                  <a:extLst>
                    <a:ext uri="{9D8B030D-6E8A-4147-A177-3AD203B41FA5}">
                      <a16:colId xmlns:a16="http://schemas.microsoft.com/office/drawing/2014/main" val="692519158"/>
                    </a:ext>
                  </a:extLst>
                </a:gridCol>
                <a:gridCol w="285608">
                  <a:extLst>
                    <a:ext uri="{9D8B030D-6E8A-4147-A177-3AD203B41FA5}">
                      <a16:colId xmlns:a16="http://schemas.microsoft.com/office/drawing/2014/main" val="3096728759"/>
                    </a:ext>
                  </a:extLst>
                </a:gridCol>
                <a:gridCol w="285608">
                  <a:extLst>
                    <a:ext uri="{9D8B030D-6E8A-4147-A177-3AD203B41FA5}">
                      <a16:colId xmlns:a16="http://schemas.microsoft.com/office/drawing/2014/main" val="986585950"/>
                    </a:ext>
                  </a:extLst>
                </a:gridCol>
                <a:gridCol w="285608">
                  <a:extLst>
                    <a:ext uri="{9D8B030D-6E8A-4147-A177-3AD203B41FA5}">
                      <a16:colId xmlns:a16="http://schemas.microsoft.com/office/drawing/2014/main" val="1303995510"/>
                    </a:ext>
                  </a:extLst>
                </a:gridCol>
                <a:gridCol w="285608">
                  <a:extLst>
                    <a:ext uri="{9D8B030D-6E8A-4147-A177-3AD203B41FA5}">
                      <a16:colId xmlns:a16="http://schemas.microsoft.com/office/drawing/2014/main" val="1283637581"/>
                    </a:ext>
                  </a:extLst>
                </a:gridCol>
                <a:gridCol w="285608">
                  <a:extLst>
                    <a:ext uri="{9D8B030D-6E8A-4147-A177-3AD203B41FA5}">
                      <a16:colId xmlns:a16="http://schemas.microsoft.com/office/drawing/2014/main" val="2649751233"/>
                    </a:ext>
                  </a:extLst>
                </a:gridCol>
                <a:gridCol w="285608">
                  <a:extLst>
                    <a:ext uri="{9D8B030D-6E8A-4147-A177-3AD203B41FA5}">
                      <a16:colId xmlns:a16="http://schemas.microsoft.com/office/drawing/2014/main" val="1217992675"/>
                    </a:ext>
                  </a:extLst>
                </a:gridCol>
                <a:gridCol w="285608">
                  <a:extLst>
                    <a:ext uri="{9D8B030D-6E8A-4147-A177-3AD203B41FA5}">
                      <a16:colId xmlns:a16="http://schemas.microsoft.com/office/drawing/2014/main" val="1902830751"/>
                    </a:ext>
                  </a:extLst>
                </a:gridCol>
                <a:gridCol w="285608">
                  <a:extLst>
                    <a:ext uri="{9D8B030D-6E8A-4147-A177-3AD203B41FA5}">
                      <a16:colId xmlns:a16="http://schemas.microsoft.com/office/drawing/2014/main" val="587655968"/>
                    </a:ext>
                  </a:extLst>
                </a:gridCol>
                <a:gridCol w="285608">
                  <a:extLst>
                    <a:ext uri="{9D8B030D-6E8A-4147-A177-3AD203B41FA5}">
                      <a16:colId xmlns:a16="http://schemas.microsoft.com/office/drawing/2014/main" val="3512822322"/>
                    </a:ext>
                  </a:extLst>
                </a:gridCol>
                <a:gridCol w="307814">
                  <a:extLst>
                    <a:ext uri="{9D8B030D-6E8A-4147-A177-3AD203B41FA5}">
                      <a16:colId xmlns:a16="http://schemas.microsoft.com/office/drawing/2014/main" val="2659333034"/>
                    </a:ext>
                  </a:extLst>
                </a:gridCol>
                <a:gridCol w="307814">
                  <a:extLst>
                    <a:ext uri="{9D8B030D-6E8A-4147-A177-3AD203B41FA5}">
                      <a16:colId xmlns:a16="http://schemas.microsoft.com/office/drawing/2014/main" val="406694194"/>
                    </a:ext>
                  </a:extLst>
                </a:gridCol>
                <a:gridCol w="307814">
                  <a:extLst>
                    <a:ext uri="{9D8B030D-6E8A-4147-A177-3AD203B41FA5}">
                      <a16:colId xmlns:a16="http://schemas.microsoft.com/office/drawing/2014/main" val="4229582658"/>
                    </a:ext>
                  </a:extLst>
                </a:gridCol>
                <a:gridCol w="285608">
                  <a:extLst>
                    <a:ext uri="{9D8B030D-6E8A-4147-A177-3AD203B41FA5}">
                      <a16:colId xmlns:a16="http://schemas.microsoft.com/office/drawing/2014/main" val="2660004666"/>
                    </a:ext>
                  </a:extLst>
                </a:gridCol>
                <a:gridCol w="285608">
                  <a:extLst>
                    <a:ext uri="{9D8B030D-6E8A-4147-A177-3AD203B41FA5}">
                      <a16:colId xmlns:a16="http://schemas.microsoft.com/office/drawing/2014/main" val="1863008928"/>
                    </a:ext>
                  </a:extLst>
                </a:gridCol>
                <a:gridCol w="285608">
                  <a:extLst>
                    <a:ext uri="{9D8B030D-6E8A-4147-A177-3AD203B41FA5}">
                      <a16:colId xmlns:a16="http://schemas.microsoft.com/office/drawing/2014/main" val="1724770166"/>
                    </a:ext>
                  </a:extLst>
                </a:gridCol>
                <a:gridCol w="285608">
                  <a:extLst>
                    <a:ext uri="{9D8B030D-6E8A-4147-A177-3AD203B41FA5}">
                      <a16:colId xmlns:a16="http://schemas.microsoft.com/office/drawing/2014/main" val="4101828230"/>
                    </a:ext>
                  </a:extLst>
                </a:gridCol>
                <a:gridCol w="285608">
                  <a:extLst>
                    <a:ext uri="{9D8B030D-6E8A-4147-A177-3AD203B41FA5}">
                      <a16:colId xmlns:a16="http://schemas.microsoft.com/office/drawing/2014/main" val="3546332885"/>
                    </a:ext>
                  </a:extLst>
                </a:gridCol>
                <a:gridCol w="285608">
                  <a:extLst>
                    <a:ext uri="{9D8B030D-6E8A-4147-A177-3AD203B41FA5}">
                      <a16:colId xmlns:a16="http://schemas.microsoft.com/office/drawing/2014/main" val="3623313660"/>
                    </a:ext>
                  </a:extLst>
                </a:gridCol>
                <a:gridCol w="285608">
                  <a:extLst>
                    <a:ext uri="{9D8B030D-6E8A-4147-A177-3AD203B41FA5}">
                      <a16:colId xmlns:a16="http://schemas.microsoft.com/office/drawing/2014/main" val="4168948778"/>
                    </a:ext>
                  </a:extLst>
                </a:gridCol>
                <a:gridCol w="285608">
                  <a:extLst>
                    <a:ext uri="{9D8B030D-6E8A-4147-A177-3AD203B41FA5}">
                      <a16:colId xmlns:a16="http://schemas.microsoft.com/office/drawing/2014/main" val="2449692998"/>
                    </a:ext>
                  </a:extLst>
                </a:gridCol>
                <a:gridCol w="285608">
                  <a:extLst>
                    <a:ext uri="{9D8B030D-6E8A-4147-A177-3AD203B41FA5}">
                      <a16:colId xmlns:a16="http://schemas.microsoft.com/office/drawing/2014/main" val="2022388989"/>
                    </a:ext>
                  </a:extLst>
                </a:gridCol>
                <a:gridCol w="285608">
                  <a:extLst>
                    <a:ext uri="{9D8B030D-6E8A-4147-A177-3AD203B41FA5}">
                      <a16:colId xmlns:a16="http://schemas.microsoft.com/office/drawing/2014/main" val="3645021138"/>
                    </a:ext>
                  </a:extLst>
                </a:gridCol>
                <a:gridCol w="285608">
                  <a:extLst>
                    <a:ext uri="{9D8B030D-6E8A-4147-A177-3AD203B41FA5}">
                      <a16:colId xmlns:a16="http://schemas.microsoft.com/office/drawing/2014/main" val="713122468"/>
                    </a:ext>
                  </a:extLst>
                </a:gridCol>
                <a:gridCol w="285608">
                  <a:extLst>
                    <a:ext uri="{9D8B030D-6E8A-4147-A177-3AD203B41FA5}">
                      <a16:colId xmlns:a16="http://schemas.microsoft.com/office/drawing/2014/main" val="2426586290"/>
                    </a:ext>
                  </a:extLst>
                </a:gridCol>
                <a:gridCol w="285608">
                  <a:extLst>
                    <a:ext uri="{9D8B030D-6E8A-4147-A177-3AD203B41FA5}">
                      <a16:colId xmlns:a16="http://schemas.microsoft.com/office/drawing/2014/main" val="3503346519"/>
                    </a:ext>
                  </a:extLst>
                </a:gridCol>
                <a:gridCol w="285608">
                  <a:extLst>
                    <a:ext uri="{9D8B030D-6E8A-4147-A177-3AD203B41FA5}">
                      <a16:colId xmlns:a16="http://schemas.microsoft.com/office/drawing/2014/main" val="429664569"/>
                    </a:ext>
                  </a:extLst>
                </a:gridCol>
                <a:gridCol w="285608">
                  <a:extLst>
                    <a:ext uri="{9D8B030D-6E8A-4147-A177-3AD203B41FA5}">
                      <a16:colId xmlns:a16="http://schemas.microsoft.com/office/drawing/2014/main" val="2565349325"/>
                    </a:ext>
                  </a:extLst>
                </a:gridCol>
                <a:gridCol w="285608">
                  <a:extLst>
                    <a:ext uri="{9D8B030D-6E8A-4147-A177-3AD203B41FA5}">
                      <a16:colId xmlns:a16="http://schemas.microsoft.com/office/drawing/2014/main" val="189841206"/>
                    </a:ext>
                  </a:extLst>
                </a:gridCol>
              </a:tblGrid>
              <a:tr h="325255">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dirty="0">
                          <a:solidFill>
                            <a:srgbClr val="000000"/>
                          </a:solidFill>
                          <a:effectLst/>
                          <a:latin typeface="Calibri" panose="020F0502020204030204" pitchFamily="34" charset="0"/>
                        </a:rPr>
                        <a:t>31.8.–</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dirty="0">
                          <a:solidFill>
                            <a:srgbClr val="000000"/>
                          </a:solidFill>
                          <a:effectLst/>
                          <a:latin typeface="Calibri" panose="020F0502020204030204" pitchFamily="34" charset="0"/>
                        </a:rPr>
                        <a:t>7.9.–</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216837">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5 (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5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2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4 (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6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6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2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6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8 (2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5 (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9 (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4 (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2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8 (3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6 (4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7 (4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1 (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7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1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71 (2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67 (1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9 (7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9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9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5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6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1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1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1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9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8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9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7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0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4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1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9 (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6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6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6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dirty="0">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dirty="0">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7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8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0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1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1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3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2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4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5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dirty="0">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7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5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5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1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dirty="0">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8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6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7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5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5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6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2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5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8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8 (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dirty="0">
                          <a:solidFill>
                            <a:srgbClr val="000000"/>
                          </a:solidFill>
                          <a:effectLst/>
                          <a:latin typeface="Calibri" panose="020F0502020204030204" pitchFamily="34" charset="0"/>
                        </a:rPr>
                        <a:t>12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dirty="0">
                          <a:solidFill>
                            <a:srgbClr val="000000"/>
                          </a:solidFill>
                          <a:effectLst/>
                          <a:latin typeface="Calibri" panose="020F0502020204030204" pitchFamily="34" charset="0"/>
                        </a:rPr>
                        <a:t>9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216837">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0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4 (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8 (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6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2 (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3 (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4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17 (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8 (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1 (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8 (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8 (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8 (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5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2 (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6 (2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1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43 (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5 (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52 (3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24 (4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59 (4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05 (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118 (2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54 (22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71 (1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19 (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5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0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8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8 (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0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1 (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1 (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7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5 (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dirty="0">
                          <a:solidFill>
                            <a:srgbClr val="000000"/>
                          </a:solidFill>
                          <a:effectLst/>
                          <a:latin typeface="Calibri" panose="020F0502020204030204" pitchFamily="34" charset="0"/>
                        </a:rPr>
                        <a:t>32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MŠ s vyššími stupni vzdělávání (ZŠ a případně SŠ)</a:t>
            </a:r>
          </a:p>
        </p:txBody>
      </p:sp>
      <p:graphicFrame>
        <p:nvGraphicFramePr>
          <p:cNvPr id="11" name="Tabulka 10">
            <a:extLst>
              <a:ext uri="{FF2B5EF4-FFF2-40B4-BE49-F238E27FC236}">
                <a16:creationId xmlns:a16="http://schemas.microsoft.com/office/drawing/2014/main" id="{816E4C43-79CF-4F4E-8F21-FF2FAE6F2949}"/>
              </a:ext>
            </a:extLst>
          </p:cNvPr>
          <p:cNvGraphicFramePr>
            <a:graphicFrameLocks noGrp="1"/>
          </p:cNvGraphicFramePr>
          <p:nvPr>
            <p:extLst>
              <p:ext uri="{D42A27DB-BD31-4B8C-83A1-F6EECF244321}">
                <p14:modId xmlns:p14="http://schemas.microsoft.com/office/powerpoint/2010/main" val="2685627874"/>
              </p:ext>
            </p:extLst>
          </p:nvPr>
        </p:nvGraphicFramePr>
        <p:xfrm>
          <a:off x="675776" y="3195180"/>
          <a:ext cx="11311834"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58623">
                  <a:extLst>
                    <a:ext uri="{9D8B030D-6E8A-4147-A177-3AD203B41FA5}">
                      <a16:colId xmlns:a16="http://schemas.microsoft.com/office/drawing/2014/main" val="4227063480"/>
                    </a:ext>
                  </a:extLst>
                </a:gridCol>
                <a:gridCol w="258623">
                  <a:extLst>
                    <a:ext uri="{9D8B030D-6E8A-4147-A177-3AD203B41FA5}">
                      <a16:colId xmlns:a16="http://schemas.microsoft.com/office/drawing/2014/main" val="4235552383"/>
                    </a:ext>
                  </a:extLst>
                </a:gridCol>
                <a:gridCol w="258623">
                  <a:extLst>
                    <a:ext uri="{9D8B030D-6E8A-4147-A177-3AD203B41FA5}">
                      <a16:colId xmlns:a16="http://schemas.microsoft.com/office/drawing/2014/main" val="4039418599"/>
                    </a:ext>
                  </a:extLst>
                </a:gridCol>
                <a:gridCol w="258623">
                  <a:extLst>
                    <a:ext uri="{9D8B030D-6E8A-4147-A177-3AD203B41FA5}">
                      <a16:colId xmlns:a16="http://schemas.microsoft.com/office/drawing/2014/main" val="494190901"/>
                    </a:ext>
                  </a:extLst>
                </a:gridCol>
                <a:gridCol w="258623">
                  <a:extLst>
                    <a:ext uri="{9D8B030D-6E8A-4147-A177-3AD203B41FA5}">
                      <a16:colId xmlns:a16="http://schemas.microsoft.com/office/drawing/2014/main" val="3955479085"/>
                    </a:ext>
                  </a:extLst>
                </a:gridCol>
                <a:gridCol w="258623">
                  <a:extLst>
                    <a:ext uri="{9D8B030D-6E8A-4147-A177-3AD203B41FA5}">
                      <a16:colId xmlns:a16="http://schemas.microsoft.com/office/drawing/2014/main" val="871778667"/>
                    </a:ext>
                  </a:extLst>
                </a:gridCol>
                <a:gridCol w="258623">
                  <a:extLst>
                    <a:ext uri="{9D8B030D-6E8A-4147-A177-3AD203B41FA5}">
                      <a16:colId xmlns:a16="http://schemas.microsoft.com/office/drawing/2014/main" val="2072097272"/>
                    </a:ext>
                  </a:extLst>
                </a:gridCol>
                <a:gridCol w="258623">
                  <a:extLst>
                    <a:ext uri="{9D8B030D-6E8A-4147-A177-3AD203B41FA5}">
                      <a16:colId xmlns:a16="http://schemas.microsoft.com/office/drawing/2014/main" val="807778385"/>
                    </a:ext>
                  </a:extLst>
                </a:gridCol>
                <a:gridCol w="258623">
                  <a:extLst>
                    <a:ext uri="{9D8B030D-6E8A-4147-A177-3AD203B41FA5}">
                      <a16:colId xmlns:a16="http://schemas.microsoft.com/office/drawing/2014/main" val="2101451889"/>
                    </a:ext>
                  </a:extLst>
                </a:gridCol>
                <a:gridCol w="258623">
                  <a:extLst>
                    <a:ext uri="{9D8B030D-6E8A-4147-A177-3AD203B41FA5}">
                      <a16:colId xmlns:a16="http://schemas.microsoft.com/office/drawing/2014/main" val="3605028481"/>
                    </a:ext>
                  </a:extLst>
                </a:gridCol>
                <a:gridCol w="258623">
                  <a:extLst>
                    <a:ext uri="{9D8B030D-6E8A-4147-A177-3AD203B41FA5}">
                      <a16:colId xmlns:a16="http://schemas.microsoft.com/office/drawing/2014/main" val="752428201"/>
                    </a:ext>
                  </a:extLst>
                </a:gridCol>
                <a:gridCol w="258623">
                  <a:extLst>
                    <a:ext uri="{9D8B030D-6E8A-4147-A177-3AD203B41FA5}">
                      <a16:colId xmlns:a16="http://schemas.microsoft.com/office/drawing/2014/main" val="1978385625"/>
                    </a:ext>
                  </a:extLst>
                </a:gridCol>
                <a:gridCol w="258623">
                  <a:extLst>
                    <a:ext uri="{9D8B030D-6E8A-4147-A177-3AD203B41FA5}">
                      <a16:colId xmlns:a16="http://schemas.microsoft.com/office/drawing/2014/main" val="884251675"/>
                    </a:ext>
                  </a:extLst>
                </a:gridCol>
                <a:gridCol w="258623">
                  <a:extLst>
                    <a:ext uri="{9D8B030D-6E8A-4147-A177-3AD203B41FA5}">
                      <a16:colId xmlns:a16="http://schemas.microsoft.com/office/drawing/2014/main" val="4135560205"/>
                    </a:ext>
                  </a:extLst>
                </a:gridCol>
                <a:gridCol w="258623">
                  <a:extLst>
                    <a:ext uri="{9D8B030D-6E8A-4147-A177-3AD203B41FA5}">
                      <a16:colId xmlns:a16="http://schemas.microsoft.com/office/drawing/2014/main" val="1879333647"/>
                    </a:ext>
                  </a:extLst>
                </a:gridCol>
                <a:gridCol w="258623">
                  <a:extLst>
                    <a:ext uri="{9D8B030D-6E8A-4147-A177-3AD203B41FA5}">
                      <a16:colId xmlns:a16="http://schemas.microsoft.com/office/drawing/2014/main" val="3213576122"/>
                    </a:ext>
                  </a:extLst>
                </a:gridCol>
                <a:gridCol w="258623">
                  <a:extLst>
                    <a:ext uri="{9D8B030D-6E8A-4147-A177-3AD203B41FA5}">
                      <a16:colId xmlns:a16="http://schemas.microsoft.com/office/drawing/2014/main" val="2832026134"/>
                    </a:ext>
                  </a:extLst>
                </a:gridCol>
                <a:gridCol w="258623">
                  <a:extLst>
                    <a:ext uri="{9D8B030D-6E8A-4147-A177-3AD203B41FA5}">
                      <a16:colId xmlns:a16="http://schemas.microsoft.com/office/drawing/2014/main" val="3864348483"/>
                    </a:ext>
                  </a:extLst>
                </a:gridCol>
                <a:gridCol w="258623">
                  <a:extLst>
                    <a:ext uri="{9D8B030D-6E8A-4147-A177-3AD203B41FA5}">
                      <a16:colId xmlns:a16="http://schemas.microsoft.com/office/drawing/2014/main" val="666246963"/>
                    </a:ext>
                  </a:extLst>
                </a:gridCol>
                <a:gridCol w="258623">
                  <a:extLst>
                    <a:ext uri="{9D8B030D-6E8A-4147-A177-3AD203B41FA5}">
                      <a16:colId xmlns:a16="http://schemas.microsoft.com/office/drawing/2014/main" val="3516127860"/>
                    </a:ext>
                  </a:extLst>
                </a:gridCol>
                <a:gridCol w="258623">
                  <a:extLst>
                    <a:ext uri="{9D8B030D-6E8A-4147-A177-3AD203B41FA5}">
                      <a16:colId xmlns:a16="http://schemas.microsoft.com/office/drawing/2014/main" val="3762784262"/>
                    </a:ext>
                  </a:extLst>
                </a:gridCol>
                <a:gridCol w="258623">
                  <a:extLst>
                    <a:ext uri="{9D8B030D-6E8A-4147-A177-3AD203B41FA5}">
                      <a16:colId xmlns:a16="http://schemas.microsoft.com/office/drawing/2014/main" val="3847832075"/>
                    </a:ext>
                  </a:extLst>
                </a:gridCol>
                <a:gridCol w="258623">
                  <a:extLst>
                    <a:ext uri="{9D8B030D-6E8A-4147-A177-3AD203B41FA5}">
                      <a16:colId xmlns:a16="http://schemas.microsoft.com/office/drawing/2014/main" val="1671688524"/>
                    </a:ext>
                  </a:extLst>
                </a:gridCol>
                <a:gridCol w="258623">
                  <a:extLst>
                    <a:ext uri="{9D8B030D-6E8A-4147-A177-3AD203B41FA5}">
                      <a16:colId xmlns:a16="http://schemas.microsoft.com/office/drawing/2014/main" val="1333259349"/>
                    </a:ext>
                  </a:extLst>
                </a:gridCol>
                <a:gridCol w="258623">
                  <a:extLst>
                    <a:ext uri="{9D8B030D-6E8A-4147-A177-3AD203B41FA5}">
                      <a16:colId xmlns:a16="http://schemas.microsoft.com/office/drawing/2014/main" val="296449698"/>
                    </a:ext>
                  </a:extLst>
                </a:gridCol>
                <a:gridCol w="258623">
                  <a:extLst>
                    <a:ext uri="{9D8B030D-6E8A-4147-A177-3AD203B41FA5}">
                      <a16:colId xmlns:a16="http://schemas.microsoft.com/office/drawing/2014/main" val="3887071798"/>
                    </a:ext>
                  </a:extLst>
                </a:gridCol>
                <a:gridCol w="258623">
                  <a:extLst>
                    <a:ext uri="{9D8B030D-6E8A-4147-A177-3AD203B41FA5}">
                      <a16:colId xmlns:a16="http://schemas.microsoft.com/office/drawing/2014/main" val="2961222335"/>
                    </a:ext>
                  </a:extLst>
                </a:gridCol>
                <a:gridCol w="258623">
                  <a:extLst>
                    <a:ext uri="{9D8B030D-6E8A-4147-A177-3AD203B41FA5}">
                      <a16:colId xmlns:a16="http://schemas.microsoft.com/office/drawing/2014/main" val="2142809054"/>
                    </a:ext>
                  </a:extLst>
                </a:gridCol>
                <a:gridCol w="258623">
                  <a:extLst>
                    <a:ext uri="{9D8B030D-6E8A-4147-A177-3AD203B41FA5}">
                      <a16:colId xmlns:a16="http://schemas.microsoft.com/office/drawing/2014/main" val="2007159708"/>
                    </a:ext>
                  </a:extLst>
                </a:gridCol>
                <a:gridCol w="258623">
                  <a:extLst>
                    <a:ext uri="{9D8B030D-6E8A-4147-A177-3AD203B41FA5}">
                      <a16:colId xmlns:a16="http://schemas.microsoft.com/office/drawing/2014/main" val="3706935270"/>
                    </a:ext>
                  </a:extLst>
                </a:gridCol>
                <a:gridCol w="258623">
                  <a:extLst>
                    <a:ext uri="{9D8B030D-6E8A-4147-A177-3AD203B41FA5}">
                      <a16:colId xmlns:a16="http://schemas.microsoft.com/office/drawing/2014/main" val="2232617973"/>
                    </a:ext>
                  </a:extLst>
                </a:gridCol>
                <a:gridCol w="258623">
                  <a:extLst>
                    <a:ext uri="{9D8B030D-6E8A-4147-A177-3AD203B41FA5}">
                      <a16:colId xmlns:a16="http://schemas.microsoft.com/office/drawing/2014/main" val="4024943643"/>
                    </a:ext>
                  </a:extLst>
                </a:gridCol>
                <a:gridCol w="258623">
                  <a:extLst>
                    <a:ext uri="{9D8B030D-6E8A-4147-A177-3AD203B41FA5}">
                      <a16:colId xmlns:a16="http://schemas.microsoft.com/office/drawing/2014/main" val="3199493144"/>
                    </a:ext>
                  </a:extLst>
                </a:gridCol>
                <a:gridCol w="258623">
                  <a:extLst>
                    <a:ext uri="{9D8B030D-6E8A-4147-A177-3AD203B41FA5}">
                      <a16:colId xmlns:a16="http://schemas.microsoft.com/office/drawing/2014/main" val="421246884"/>
                    </a:ext>
                  </a:extLst>
                </a:gridCol>
                <a:gridCol w="258623">
                  <a:extLst>
                    <a:ext uri="{9D8B030D-6E8A-4147-A177-3AD203B41FA5}">
                      <a16:colId xmlns:a16="http://schemas.microsoft.com/office/drawing/2014/main" val="3403047261"/>
                    </a:ext>
                  </a:extLst>
                </a:gridCol>
                <a:gridCol w="258623">
                  <a:extLst>
                    <a:ext uri="{9D8B030D-6E8A-4147-A177-3AD203B41FA5}">
                      <a16:colId xmlns:a16="http://schemas.microsoft.com/office/drawing/2014/main" val="2450099608"/>
                    </a:ext>
                  </a:extLst>
                </a:gridCol>
                <a:gridCol w="258623">
                  <a:extLst>
                    <a:ext uri="{9D8B030D-6E8A-4147-A177-3AD203B41FA5}">
                      <a16:colId xmlns:a16="http://schemas.microsoft.com/office/drawing/2014/main" val="3180496263"/>
                    </a:ext>
                  </a:extLst>
                </a:gridCol>
                <a:gridCol w="258623">
                  <a:extLst>
                    <a:ext uri="{9D8B030D-6E8A-4147-A177-3AD203B41FA5}">
                      <a16:colId xmlns:a16="http://schemas.microsoft.com/office/drawing/2014/main" val="3427491862"/>
                    </a:ext>
                  </a:extLst>
                </a:gridCol>
                <a:gridCol w="258623">
                  <a:extLst>
                    <a:ext uri="{9D8B030D-6E8A-4147-A177-3AD203B41FA5}">
                      <a16:colId xmlns:a16="http://schemas.microsoft.com/office/drawing/2014/main" val="2050575378"/>
                    </a:ext>
                  </a:extLst>
                </a:gridCol>
                <a:gridCol w="258623">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dirty="0">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dirty="0">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522719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základní školy* </a:t>
            </a:r>
            <a:endParaRPr lang="cs-CZ" sz="2000" dirty="0"/>
          </a:p>
        </p:txBody>
      </p:sp>
      <p:graphicFrame>
        <p:nvGraphicFramePr>
          <p:cNvPr id="4" name="Graf 3">
            <a:extLst>
              <a:ext uri="{FF2B5EF4-FFF2-40B4-BE49-F238E27FC236}">
                <a16:creationId xmlns:a16="http://schemas.microsoft.com/office/drawing/2014/main" id="{D8F24F05-8767-4489-9667-1CF7D4462FE7}"/>
              </a:ext>
            </a:extLst>
          </p:cNvPr>
          <p:cNvGraphicFramePr/>
          <p:nvPr>
            <p:extLst>
              <p:ext uri="{D42A27DB-BD31-4B8C-83A1-F6EECF244321}">
                <p14:modId xmlns:p14="http://schemas.microsoft.com/office/powerpoint/2010/main" val="1016208376"/>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5" name="Obdélník 4">
            <a:extLst>
              <a:ext uri="{FF2B5EF4-FFF2-40B4-BE49-F238E27FC236}">
                <a16:creationId xmlns:a16="http://schemas.microsoft.com/office/drawing/2014/main" id="{9280CB1A-142C-43EA-B552-572D33094BF2}"/>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7" name="Tabulka 6">
            <a:extLst>
              <a:ext uri="{FF2B5EF4-FFF2-40B4-BE49-F238E27FC236}">
                <a16:creationId xmlns:a16="http://schemas.microsoft.com/office/drawing/2014/main" id="{2D6FA3F8-E8A1-4F64-BF82-5C5DE7A45B2E}"/>
              </a:ext>
            </a:extLst>
          </p:cNvPr>
          <p:cNvGraphicFramePr>
            <a:graphicFrameLocks noGrp="1"/>
          </p:cNvGraphicFramePr>
          <p:nvPr>
            <p:extLst>
              <p:ext uri="{D42A27DB-BD31-4B8C-83A1-F6EECF244321}">
                <p14:modId xmlns:p14="http://schemas.microsoft.com/office/powerpoint/2010/main" val="712239767"/>
              </p:ext>
            </p:extLst>
          </p:nvPr>
        </p:nvGraphicFramePr>
        <p:xfrm>
          <a:off x="66674" y="3474332"/>
          <a:ext cx="12030606" cy="3086130"/>
        </p:xfrm>
        <a:graphic>
          <a:graphicData uri="http://schemas.openxmlformats.org/drawingml/2006/table">
            <a:tbl>
              <a:tblPr/>
              <a:tblGrid>
                <a:gridCol w="539668">
                  <a:extLst>
                    <a:ext uri="{9D8B030D-6E8A-4147-A177-3AD203B41FA5}">
                      <a16:colId xmlns:a16="http://schemas.microsoft.com/office/drawing/2014/main" val="1148265902"/>
                    </a:ext>
                  </a:extLst>
                </a:gridCol>
                <a:gridCol w="285608">
                  <a:extLst>
                    <a:ext uri="{9D8B030D-6E8A-4147-A177-3AD203B41FA5}">
                      <a16:colId xmlns:a16="http://schemas.microsoft.com/office/drawing/2014/main" val="4204192688"/>
                    </a:ext>
                  </a:extLst>
                </a:gridCol>
                <a:gridCol w="285608">
                  <a:extLst>
                    <a:ext uri="{9D8B030D-6E8A-4147-A177-3AD203B41FA5}">
                      <a16:colId xmlns:a16="http://schemas.microsoft.com/office/drawing/2014/main" val="2832739057"/>
                    </a:ext>
                  </a:extLst>
                </a:gridCol>
                <a:gridCol w="285608">
                  <a:extLst>
                    <a:ext uri="{9D8B030D-6E8A-4147-A177-3AD203B41FA5}">
                      <a16:colId xmlns:a16="http://schemas.microsoft.com/office/drawing/2014/main" val="2099542548"/>
                    </a:ext>
                  </a:extLst>
                </a:gridCol>
                <a:gridCol w="285608">
                  <a:extLst>
                    <a:ext uri="{9D8B030D-6E8A-4147-A177-3AD203B41FA5}">
                      <a16:colId xmlns:a16="http://schemas.microsoft.com/office/drawing/2014/main" val="2917192428"/>
                    </a:ext>
                  </a:extLst>
                </a:gridCol>
                <a:gridCol w="285608">
                  <a:extLst>
                    <a:ext uri="{9D8B030D-6E8A-4147-A177-3AD203B41FA5}">
                      <a16:colId xmlns:a16="http://schemas.microsoft.com/office/drawing/2014/main" val="3303836253"/>
                    </a:ext>
                  </a:extLst>
                </a:gridCol>
                <a:gridCol w="285608">
                  <a:extLst>
                    <a:ext uri="{9D8B030D-6E8A-4147-A177-3AD203B41FA5}">
                      <a16:colId xmlns:a16="http://schemas.microsoft.com/office/drawing/2014/main" val="1523759964"/>
                    </a:ext>
                  </a:extLst>
                </a:gridCol>
                <a:gridCol w="285608">
                  <a:extLst>
                    <a:ext uri="{9D8B030D-6E8A-4147-A177-3AD203B41FA5}">
                      <a16:colId xmlns:a16="http://schemas.microsoft.com/office/drawing/2014/main" val="2337675349"/>
                    </a:ext>
                  </a:extLst>
                </a:gridCol>
                <a:gridCol w="285608">
                  <a:extLst>
                    <a:ext uri="{9D8B030D-6E8A-4147-A177-3AD203B41FA5}">
                      <a16:colId xmlns:a16="http://schemas.microsoft.com/office/drawing/2014/main" val="4089801870"/>
                    </a:ext>
                  </a:extLst>
                </a:gridCol>
                <a:gridCol w="285608">
                  <a:extLst>
                    <a:ext uri="{9D8B030D-6E8A-4147-A177-3AD203B41FA5}">
                      <a16:colId xmlns:a16="http://schemas.microsoft.com/office/drawing/2014/main" val="438152286"/>
                    </a:ext>
                  </a:extLst>
                </a:gridCol>
                <a:gridCol w="285608">
                  <a:extLst>
                    <a:ext uri="{9D8B030D-6E8A-4147-A177-3AD203B41FA5}">
                      <a16:colId xmlns:a16="http://schemas.microsoft.com/office/drawing/2014/main" val="638801499"/>
                    </a:ext>
                  </a:extLst>
                </a:gridCol>
                <a:gridCol w="285608">
                  <a:extLst>
                    <a:ext uri="{9D8B030D-6E8A-4147-A177-3AD203B41FA5}">
                      <a16:colId xmlns:a16="http://schemas.microsoft.com/office/drawing/2014/main" val="3950936490"/>
                    </a:ext>
                  </a:extLst>
                </a:gridCol>
                <a:gridCol w="285608">
                  <a:extLst>
                    <a:ext uri="{9D8B030D-6E8A-4147-A177-3AD203B41FA5}">
                      <a16:colId xmlns:a16="http://schemas.microsoft.com/office/drawing/2014/main" val="692519158"/>
                    </a:ext>
                  </a:extLst>
                </a:gridCol>
                <a:gridCol w="285608">
                  <a:extLst>
                    <a:ext uri="{9D8B030D-6E8A-4147-A177-3AD203B41FA5}">
                      <a16:colId xmlns:a16="http://schemas.microsoft.com/office/drawing/2014/main" val="3096728759"/>
                    </a:ext>
                  </a:extLst>
                </a:gridCol>
                <a:gridCol w="285608">
                  <a:extLst>
                    <a:ext uri="{9D8B030D-6E8A-4147-A177-3AD203B41FA5}">
                      <a16:colId xmlns:a16="http://schemas.microsoft.com/office/drawing/2014/main" val="986585950"/>
                    </a:ext>
                  </a:extLst>
                </a:gridCol>
                <a:gridCol w="285608">
                  <a:extLst>
                    <a:ext uri="{9D8B030D-6E8A-4147-A177-3AD203B41FA5}">
                      <a16:colId xmlns:a16="http://schemas.microsoft.com/office/drawing/2014/main" val="1303995510"/>
                    </a:ext>
                  </a:extLst>
                </a:gridCol>
                <a:gridCol w="285608">
                  <a:extLst>
                    <a:ext uri="{9D8B030D-6E8A-4147-A177-3AD203B41FA5}">
                      <a16:colId xmlns:a16="http://schemas.microsoft.com/office/drawing/2014/main" val="1283637581"/>
                    </a:ext>
                  </a:extLst>
                </a:gridCol>
                <a:gridCol w="285608">
                  <a:extLst>
                    <a:ext uri="{9D8B030D-6E8A-4147-A177-3AD203B41FA5}">
                      <a16:colId xmlns:a16="http://schemas.microsoft.com/office/drawing/2014/main" val="2649751233"/>
                    </a:ext>
                  </a:extLst>
                </a:gridCol>
                <a:gridCol w="285608">
                  <a:extLst>
                    <a:ext uri="{9D8B030D-6E8A-4147-A177-3AD203B41FA5}">
                      <a16:colId xmlns:a16="http://schemas.microsoft.com/office/drawing/2014/main" val="1217992675"/>
                    </a:ext>
                  </a:extLst>
                </a:gridCol>
                <a:gridCol w="285608">
                  <a:extLst>
                    <a:ext uri="{9D8B030D-6E8A-4147-A177-3AD203B41FA5}">
                      <a16:colId xmlns:a16="http://schemas.microsoft.com/office/drawing/2014/main" val="1902830751"/>
                    </a:ext>
                  </a:extLst>
                </a:gridCol>
                <a:gridCol w="285608">
                  <a:extLst>
                    <a:ext uri="{9D8B030D-6E8A-4147-A177-3AD203B41FA5}">
                      <a16:colId xmlns:a16="http://schemas.microsoft.com/office/drawing/2014/main" val="587655968"/>
                    </a:ext>
                  </a:extLst>
                </a:gridCol>
                <a:gridCol w="285608">
                  <a:extLst>
                    <a:ext uri="{9D8B030D-6E8A-4147-A177-3AD203B41FA5}">
                      <a16:colId xmlns:a16="http://schemas.microsoft.com/office/drawing/2014/main" val="3512822322"/>
                    </a:ext>
                  </a:extLst>
                </a:gridCol>
                <a:gridCol w="307814">
                  <a:extLst>
                    <a:ext uri="{9D8B030D-6E8A-4147-A177-3AD203B41FA5}">
                      <a16:colId xmlns:a16="http://schemas.microsoft.com/office/drawing/2014/main" val="2659333034"/>
                    </a:ext>
                  </a:extLst>
                </a:gridCol>
                <a:gridCol w="307814">
                  <a:extLst>
                    <a:ext uri="{9D8B030D-6E8A-4147-A177-3AD203B41FA5}">
                      <a16:colId xmlns:a16="http://schemas.microsoft.com/office/drawing/2014/main" val="406694194"/>
                    </a:ext>
                  </a:extLst>
                </a:gridCol>
                <a:gridCol w="307814">
                  <a:extLst>
                    <a:ext uri="{9D8B030D-6E8A-4147-A177-3AD203B41FA5}">
                      <a16:colId xmlns:a16="http://schemas.microsoft.com/office/drawing/2014/main" val="4229582658"/>
                    </a:ext>
                  </a:extLst>
                </a:gridCol>
                <a:gridCol w="285608">
                  <a:extLst>
                    <a:ext uri="{9D8B030D-6E8A-4147-A177-3AD203B41FA5}">
                      <a16:colId xmlns:a16="http://schemas.microsoft.com/office/drawing/2014/main" val="2660004666"/>
                    </a:ext>
                  </a:extLst>
                </a:gridCol>
                <a:gridCol w="285608">
                  <a:extLst>
                    <a:ext uri="{9D8B030D-6E8A-4147-A177-3AD203B41FA5}">
                      <a16:colId xmlns:a16="http://schemas.microsoft.com/office/drawing/2014/main" val="1863008928"/>
                    </a:ext>
                  </a:extLst>
                </a:gridCol>
                <a:gridCol w="285608">
                  <a:extLst>
                    <a:ext uri="{9D8B030D-6E8A-4147-A177-3AD203B41FA5}">
                      <a16:colId xmlns:a16="http://schemas.microsoft.com/office/drawing/2014/main" val="1724770166"/>
                    </a:ext>
                  </a:extLst>
                </a:gridCol>
                <a:gridCol w="285608">
                  <a:extLst>
                    <a:ext uri="{9D8B030D-6E8A-4147-A177-3AD203B41FA5}">
                      <a16:colId xmlns:a16="http://schemas.microsoft.com/office/drawing/2014/main" val="4101828230"/>
                    </a:ext>
                  </a:extLst>
                </a:gridCol>
                <a:gridCol w="285608">
                  <a:extLst>
                    <a:ext uri="{9D8B030D-6E8A-4147-A177-3AD203B41FA5}">
                      <a16:colId xmlns:a16="http://schemas.microsoft.com/office/drawing/2014/main" val="3546332885"/>
                    </a:ext>
                  </a:extLst>
                </a:gridCol>
                <a:gridCol w="285608">
                  <a:extLst>
                    <a:ext uri="{9D8B030D-6E8A-4147-A177-3AD203B41FA5}">
                      <a16:colId xmlns:a16="http://schemas.microsoft.com/office/drawing/2014/main" val="3623313660"/>
                    </a:ext>
                  </a:extLst>
                </a:gridCol>
                <a:gridCol w="285608">
                  <a:extLst>
                    <a:ext uri="{9D8B030D-6E8A-4147-A177-3AD203B41FA5}">
                      <a16:colId xmlns:a16="http://schemas.microsoft.com/office/drawing/2014/main" val="4168948778"/>
                    </a:ext>
                  </a:extLst>
                </a:gridCol>
                <a:gridCol w="285608">
                  <a:extLst>
                    <a:ext uri="{9D8B030D-6E8A-4147-A177-3AD203B41FA5}">
                      <a16:colId xmlns:a16="http://schemas.microsoft.com/office/drawing/2014/main" val="2449692998"/>
                    </a:ext>
                  </a:extLst>
                </a:gridCol>
                <a:gridCol w="285608">
                  <a:extLst>
                    <a:ext uri="{9D8B030D-6E8A-4147-A177-3AD203B41FA5}">
                      <a16:colId xmlns:a16="http://schemas.microsoft.com/office/drawing/2014/main" val="2022388989"/>
                    </a:ext>
                  </a:extLst>
                </a:gridCol>
                <a:gridCol w="285608">
                  <a:extLst>
                    <a:ext uri="{9D8B030D-6E8A-4147-A177-3AD203B41FA5}">
                      <a16:colId xmlns:a16="http://schemas.microsoft.com/office/drawing/2014/main" val="3645021138"/>
                    </a:ext>
                  </a:extLst>
                </a:gridCol>
                <a:gridCol w="285608">
                  <a:extLst>
                    <a:ext uri="{9D8B030D-6E8A-4147-A177-3AD203B41FA5}">
                      <a16:colId xmlns:a16="http://schemas.microsoft.com/office/drawing/2014/main" val="713122468"/>
                    </a:ext>
                  </a:extLst>
                </a:gridCol>
                <a:gridCol w="285608">
                  <a:extLst>
                    <a:ext uri="{9D8B030D-6E8A-4147-A177-3AD203B41FA5}">
                      <a16:colId xmlns:a16="http://schemas.microsoft.com/office/drawing/2014/main" val="2426586290"/>
                    </a:ext>
                  </a:extLst>
                </a:gridCol>
                <a:gridCol w="285608">
                  <a:extLst>
                    <a:ext uri="{9D8B030D-6E8A-4147-A177-3AD203B41FA5}">
                      <a16:colId xmlns:a16="http://schemas.microsoft.com/office/drawing/2014/main" val="3503346519"/>
                    </a:ext>
                  </a:extLst>
                </a:gridCol>
                <a:gridCol w="285608">
                  <a:extLst>
                    <a:ext uri="{9D8B030D-6E8A-4147-A177-3AD203B41FA5}">
                      <a16:colId xmlns:a16="http://schemas.microsoft.com/office/drawing/2014/main" val="429664569"/>
                    </a:ext>
                  </a:extLst>
                </a:gridCol>
                <a:gridCol w="285608">
                  <a:extLst>
                    <a:ext uri="{9D8B030D-6E8A-4147-A177-3AD203B41FA5}">
                      <a16:colId xmlns:a16="http://schemas.microsoft.com/office/drawing/2014/main" val="2565349325"/>
                    </a:ext>
                  </a:extLst>
                </a:gridCol>
                <a:gridCol w="285608">
                  <a:extLst>
                    <a:ext uri="{9D8B030D-6E8A-4147-A177-3AD203B41FA5}">
                      <a16:colId xmlns:a16="http://schemas.microsoft.com/office/drawing/2014/main" val="189841206"/>
                    </a:ext>
                  </a:extLst>
                </a:gridCol>
              </a:tblGrid>
              <a:tr h="325255">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216837">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5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2 (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7 (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4 (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0 (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3 (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9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8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5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3 (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6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6 (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1 (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4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2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9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2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9 (7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1 (4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0 (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6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3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9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9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3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1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9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5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5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0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9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4659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1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9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1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8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4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2168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46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0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2 (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3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4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2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9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5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8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8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2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216837">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6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65 (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31 (6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03 (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34 (2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1 (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4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81 (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7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8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3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3 (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34 (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8 (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67 (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2 (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8 (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1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08 (4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08 (10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08 (6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85 (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5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 (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6 (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01 (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9 (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3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9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7 (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dirty="0">
                          <a:solidFill>
                            <a:srgbClr val="000000"/>
                          </a:solidFill>
                          <a:effectLst/>
                          <a:latin typeface="Calibri" panose="020F0502020204030204" pitchFamily="34" charset="0"/>
                        </a:rPr>
                        <a:t>34 (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ZŠ s vyššími stupni vzdělávání (SŠ a případně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graphicFrame>
        <p:nvGraphicFramePr>
          <p:cNvPr id="11" name="Tabulka 10">
            <a:extLst>
              <a:ext uri="{FF2B5EF4-FFF2-40B4-BE49-F238E27FC236}">
                <a16:creationId xmlns:a16="http://schemas.microsoft.com/office/drawing/2014/main" id="{816E4C43-79CF-4F4E-8F21-FF2FAE6F2949}"/>
              </a:ext>
            </a:extLst>
          </p:cNvPr>
          <p:cNvGraphicFramePr>
            <a:graphicFrameLocks noGrp="1"/>
          </p:cNvGraphicFramePr>
          <p:nvPr>
            <p:extLst>
              <p:ext uri="{D42A27DB-BD31-4B8C-83A1-F6EECF244321}">
                <p14:modId xmlns:p14="http://schemas.microsoft.com/office/powerpoint/2010/main" val="555424707"/>
              </p:ext>
            </p:extLst>
          </p:nvPr>
        </p:nvGraphicFramePr>
        <p:xfrm>
          <a:off x="675776" y="3195180"/>
          <a:ext cx="11311834"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58623">
                  <a:extLst>
                    <a:ext uri="{9D8B030D-6E8A-4147-A177-3AD203B41FA5}">
                      <a16:colId xmlns:a16="http://schemas.microsoft.com/office/drawing/2014/main" val="4227063480"/>
                    </a:ext>
                  </a:extLst>
                </a:gridCol>
                <a:gridCol w="258623">
                  <a:extLst>
                    <a:ext uri="{9D8B030D-6E8A-4147-A177-3AD203B41FA5}">
                      <a16:colId xmlns:a16="http://schemas.microsoft.com/office/drawing/2014/main" val="4235552383"/>
                    </a:ext>
                  </a:extLst>
                </a:gridCol>
                <a:gridCol w="258623">
                  <a:extLst>
                    <a:ext uri="{9D8B030D-6E8A-4147-A177-3AD203B41FA5}">
                      <a16:colId xmlns:a16="http://schemas.microsoft.com/office/drawing/2014/main" val="4039418599"/>
                    </a:ext>
                  </a:extLst>
                </a:gridCol>
                <a:gridCol w="258623">
                  <a:extLst>
                    <a:ext uri="{9D8B030D-6E8A-4147-A177-3AD203B41FA5}">
                      <a16:colId xmlns:a16="http://schemas.microsoft.com/office/drawing/2014/main" val="494190901"/>
                    </a:ext>
                  </a:extLst>
                </a:gridCol>
                <a:gridCol w="258623">
                  <a:extLst>
                    <a:ext uri="{9D8B030D-6E8A-4147-A177-3AD203B41FA5}">
                      <a16:colId xmlns:a16="http://schemas.microsoft.com/office/drawing/2014/main" val="3955479085"/>
                    </a:ext>
                  </a:extLst>
                </a:gridCol>
                <a:gridCol w="258623">
                  <a:extLst>
                    <a:ext uri="{9D8B030D-6E8A-4147-A177-3AD203B41FA5}">
                      <a16:colId xmlns:a16="http://schemas.microsoft.com/office/drawing/2014/main" val="871778667"/>
                    </a:ext>
                  </a:extLst>
                </a:gridCol>
                <a:gridCol w="258623">
                  <a:extLst>
                    <a:ext uri="{9D8B030D-6E8A-4147-A177-3AD203B41FA5}">
                      <a16:colId xmlns:a16="http://schemas.microsoft.com/office/drawing/2014/main" val="2072097272"/>
                    </a:ext>
                  </a:extLst>
                </a:gridCol>
                <a:gridCol w="258623">
                  <a:extLst>
                    <a:ext uri="{9D8B030D-6E8A-4147-A177-3AD203B41FA5}">
                      <a16:colId xmlns:a16="http://schemas.microsoft.com/office/drawing/2014/main" val="807778385"/>
                    </a:ext>
                  </a:extLst>
                </a:gridCol>
                <a:gridCol w="258623">
                  <a:extLst>
                    <a:ext uri="{9D8B030D-6E8A-4147-A177-3AD203B41FA5}">
                      <a16:colId xmlns:a16="http://schemas.microsoft.com/office/drawing/2014/main" val="2101451889"/>
                    </a:ext>
                  </a:extLst>
                </a:gridCol>
                <a:gridCol w="258623">
                  <a:extLst>
                    <a:ext uri="{9D8B030D-6E8A-4147-A177-3AD203B41FA5}">
                      <a16:colId xmlns:a16="http://schemas.microsoft.com/office/drawing/2014/main" val="3605028481"/>
                    </a:ext>
                  </a:extLst>
                </a:gridCol>
                <a:gridCol w="258623">
                  <a:extLst>
                    <a:ext uri="{9D8B030D-6E8A-4147-A177-3AD203B41FA5}">
                      <a16:colId xmlns:a16="http://schemas.microsoft.com/office/drawing/2014/main" val="752428201"/>
                    </a:ext>
                  </a:extLst>
                </a:gridCol>
                <a:gridCol w="258623">
                  <a:extLst>
                    <a:ext uri="{9D8B030D-6E8A-4147-A177-3AD203B41FA5}">
                      <a16:colId xmlns:a16="http://schemas.microsoft.com/office/drawing/2014/main" val="1978385625"/>
                    </a:ext>
                  </a:extLst>
                </a:gridCol>
                <a:gridCol w="258623">
                  <a:extLst>
                    <a:ext uri="{9D8B030D-6E8A-4147-A177-3AD203B41FA5}">
                      <a16:colId xmlns:a16="http://schemas.microsoft.com/office/drawing/2014/main" val="884251675"/>
                    </a:ext>
                  </a:extLst>
                </a:gridCol>
                <a:gridCol w="258623">
                  <a:extLst>
                    <a:ext uri="{9D8B030D-6E8A-4147-A177-3AD203B41FA5}">
                      <a16:colId xmlns:a16="http://schemas.microsoft.com/office/drawing/2014/main" val="4135560205"/>
                    </a:ext>
                  </a:extLst>
                </a:gridCol>
                <a:gridCol w="258623">
                  <a:extLst>
                    <a:ext uri="{9D8B030D-6E8A-4147-A177-3AD203B41FA5}">
                      <a16:colId xmlns:a16="http://schemas.microsoft.com/office/drawing/2014/main" val="1879333647"/>
                    </a:ext>
                  </a:extLst>
                </a:gridCol>
                <a:gridCol w="258623">
                  <a:extLst>
                    <a:ext uri="{9D8B030D-6E8A-4147-A177-3AD203B41FA5}">
                      <a16:colId xmlns:a16="http://schemas.microsoft.com/office/drawing/2014/main" val="3213576122"/>
                    </a:ext>
                  </a:extLst>
                </a:gridCol>
                <a:gridCol w="258623">
                  <a:extLst>
                    <a:ext uri="{9D8B030D-6E8A-4147-A177-3AD203B41FA5}">
                      <a16:colId xmlns:a16="http://schemas.microsoft.com/office/drawing/2014/main" val="2832026134"/>
                    </a:ext>
                  </a:extLst>
                </a:gridCol>
                <a:gridCol w="258623">
                  <a:extLst>
                    <a:ext uri="{9D8B030D-6E8A-4147-A177-3AD203B41FA5}">
                      <a16:colId xmlns:a16="http://schemas.microsoft.com/office/drawing/2014/main" val="3864348483"/>
                    </a:ext>
                  </a:extLst>
                </a:gridCol>
                <a:gridCol w="258623">
                  <a:extLst>
                    <a:ext uri="{9D8B030D-6E8A-4147-A177-3AD203B41FA5}">
                      <a16:colId xmlns:a16="http://schemas.microsoft.com/office/drawing/2014/main" val="666246963"/>
                    </a:ext>
                  </a:extLst>
                </a:gridCol>
                <a:gridCol w="258623">
                  <a:extLst>
                    <a:ext uri="{9D8B030D-6E8A-4147-A177-3AD203B41FA5}">
                      <a16:colId xmlns:a16="http://schemas.microsoft.com/office/drawing/2014/main" val="3516127860"/>
                    </a:ext>
                  </a:extLst>
                </a:gridCol>
                <a:gridCol w="258623">
                  <a:extLst>
                    <a:ext uri="{9D8B030D-6E8A-4147-A177-3AD203B41FA5}">
                      <a16:colId xmlns:a16="http://schemas.microsoft.com/office/drawing/2014/main" val="3762784262"/>
                    </a:ext>
                  </a:extLst>
                </a:gridCol>
                <a:gridCol w="258623">
                  <a:extLst>
                    <a:ext uri="{9D8B030D-6E8A-4147-A177-3AD203B41FA5}">
                      <a16:colId xmlns:a16="http://schemas.microsoft.com/office/drawing/2014/main" val="3847832075"/>
                    </a:ext>
                  </a:extLst>
                </a:gridCol>
                <a:gridCol w="258623">
                  <a:extLst>
                    <a:ext uri="{9D8B030D-6E8A-4147-A177-3AD203B41FA5}">
                      <a16:colId xmlns:a16="http://schemas.microsoft.com/office/drawing/2014/main" val="1671688524"/>
                    </a:ext>
                  </a:extLst>
                </a:gridCol>
                <a:gridCol w="258623">
                  <a:extLst>
                    <a:ext uri="{9D8B030D-6E8A-4147-A177-3AD203B41FA5}">
                      <a16:colId xmlns:a16="http://schemas.microsoft.com/office/drawing/2014/main" val="1333259349"/>
                    </a:ext>
                  </a:extLst>
                </a:gridCol>
                <a:gridCol w="258623">
                  <a:extLst>
                    <a:ext uri="{9D8B030D-6E8A-4147-A177-3AD203B41FA5}">
                      <a16:colId xmlns:a16="http://schemas.microsoft.com/office/drawing/2014/main" val="296449698"/>
                    </a:ext>
                  </a:extLst>
                </a:gridCol>
                <a:gridCol w="258623">
                  <a:extLst>
                    <a:ext uri="{9D8B030D-6E8A-4147-A177-3AD203B41FA5}">
                      <a16:colId xmlns:a16="http://schemas.microsoft.com/office/drawing/2014/main" val="3887071798"/>
                    </a:ext>
                  </a:extLst>
                </a:gridCol>
                <a:gridCol w="258623">
                  <a:extLst>
                    <a:ext uri="{9D8B030D-6E8A-4147-A177-3AD203B41FA5}">
                      <a16:colId xmlns:a16="http://schemas.microsoft.com/office/drawing/2014/main" val="2961222335"/>
                    </a:ext>
                  </a:extLst>
                </a:gridCol>
                <a:gridCol w="258623">
                  <a:extLst>
                    <a:ext uri="{9D8B030D-6E8A-4147-A177-3AD203B41FA5}">
                      <a16:colId xmlns:a16="http://schemas.microsoft.com/office/drawing/2014/main" val="2142809054"/>
                    </a:ext>
                  </a:extLst>
                </a:gridCol>
                <a:gridCol w="258623">
                  <a:extLst>
                    <a:ext uri="{9D8B030D-6E8A-4147-A177-3AD203B41FA5}">
                      <a16:colId xmlns:a16="http://schemas.microsoft.com/office/drawing/2014/main" val="2007159708"/>
                    </a:ext>
                  </a:extLst>
                </a:gridCol>
                <a:gridCol w="258623">
                  <a:extLst>
                    <a:ext uri="{9D8B030D-6E8A-4147-A177-3AD203B41FA5}">
                      <a16:colId xmlns:a16="http://schemas.microsoft.com/office/drawing/2014/main" val="3706935270"/>
                    </a:ext>
                  </a:extLst>
                </a:gridCol>
                <a:gridCol w="258623">
                  <a:extLst>
                    <a:ext uri="{9D8B030D-6E8A-4147-A177-3AD203B41FA5}">
                      <a16:colId xmlns:a16="http://schemas.microsoft.com/office/drawing/2014/main" val="2232617973"/>
                    </a:ext>
                  </a:extLst>
                </a:gridCol>
                <a:gridCol w="258623">
                  <a:extLst>
                    <a:ext uri="{9D8B030D-6E8A-4147-A177-3AD203B41FA5}">
                      <a16:colId xmlns:a16="http://schemas.microsoft.com/office/drawing/2014/main" val="4024943643"/>
                    </a:ext>
                  </a:extLst>
                </a:gridCol>
                <a:gridCol w="258623">
                  <a:extLst>
                    <a:ext uri="{9D8B030D-6E8A-4147-A177-3AD203B41FA5}">
                      <a16:colId xmlns:a16="http://schemas.microsoft.com/office/drawing/2014/main" val="3199493144"/>
                    </a:ext>
                  </a:extLst>
                </a:gridCol>
                <a:gridCol w="258623">
                  <a:extLst>
                    <a:ext uri="{9D8B030D-6E8A-4147-A177-3AD203B41FA5}">
                      <a16:colId xmlns:a16="http://schemas.microsoft.com/office/drawing/2014/main" val="421246884"/>
                    </a:ext>
                  </a:extLst>
                </a:gridCol>
                <a:gridCol w="258623">
                  <a:extLst>
                    <a:ext uri="{9D8B030D-6E8A-4147-A177-3AD203B41FA5}">
                      <a16:colId xmlns:a16="http://schemas.microsoft.com/office/drawing/2014/main" val="3403047261"/>
                    </a:ext>
                  </a:extLst>
                </a:gridCol>
                <a:gridCol w="258623">
                  <a:extLst>
                    <a:ext uri="{9D8B030D-6E8A-4147-A177-3AD203B41FA5}">
                      <a16:colId xmlns:a16="http://schemas.microsoft.com/office/drawing/2014/main" val="2450099608"/>
                    </a:ext>
                  </a:extLst>
                </a:gridCol>
                <a:gridCol w="258623">
                  <a:extLst>
                    <a:ext uri="{9D8B030D-6E8A-4147-A177-3AD203B41FA5}">
                      <a16:colId xmlns:a16="http://schemas.microsoft.com/office/drawing/2014/main" val="3180496263"/>
                    </a:ext>
                  </a:extLst>
                </a:gridCol>
                <a:gridCol w="258623">
                  <a:extLst>
                    <a:ext uri="{9D8B030D-6E8A-4147-A177-3AD203B41FA5}">
                      <a16:colId xmlns:a16="http://schemas.microsoft.com/office/drawing/2014/main" val="3427491862"/>
                    </a:ext>
                  </a:extLst>
                </a:gridCol>
                <a:gridCol w="258623">
                  <a:extLst>
                    <a:ext uri="{9D8B030D-6E8A-4147-A177-3AD203B41FA5}">
                      <a16:colId xmlns:a16="http://schemas.microsoft.com/office/drawing/2014/main" val="2050575378"/>
                    </a:ext>
                  </a:extLst>
                </a:gridCol>
                <a:gridCol w="258623">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100" b="1" i="1" u="none" strike="noStrike" dirty="0">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30731315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střední školy* </a:t>
            </a:r>
            <a:endParaRPr lang="cs-CZ" sz="2000" dirty="0"/>
          </a:p>
        </p:txBody>
      </p:sp>
      <p:graphicFrame>
        <p:nvGraphicFramePr>
          <p:cNvPr id="4" name="Graf 3">
            <a:extLst>
              <a:ext uri="{FF2B5EF4-FFF2-40B4-BE49-F238E27FC236}">
                <a16:creationId xmlns:a16="http://schemas.microsoft.com/office/drawing/2014/main" id="{D8F24F05-8767-4489-9667-1CF7D4462FE7}"/>
              </a:ext>
            </a:extLst>
          </p:cNvPr>
          <p:cNvGraphicFramePr/>
          <p:nvPr>
            <p:extLst>
              <p:ext uri="{D42A27DB-BD31-4B8C-83A1-F6EECF244321}">
                <p14:modId xmlns:p14="http://schemas.microsoft.com/office/powerpoint/2010/main" val="3215282716"/>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5" name="Obdélník 4">
            <a:extLst>
              <a:ext uri="{FF2B5EF4-FFF2-40B4-BE49-F238E27FC236}">
                <a16:creationId xmlns:a16="http://schemas.microsoft.com/office/drawing/2014/main" id="{9280CB1A-142C-43EA-B552-572D33094BF2}"/>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7" name="Tabulka 6">
            <a:extLst>
              <a:ext uri="{FF2B5EF4-FFF2-40B4-BE49-F238E27FC236}">
                <a16:creationId xmlns:a16="http://schemas.microsoft.com/office/drawing/2014/main" id="{2D6FA3F8-E8A1-4F64-BF82-5C5DE7A45B2E}"/>
              </a:ext>
            </a:extLst>
          </p:cNvPr>
          <p:cNvGraphicFramePr>
            <a:graphicFrameLocks noGrp="1"/>
          </p:cNvGraphicFramePr>
          <p:nvPr>
            <p:extLst>
              <p:ext uri="{D42A27DB-BD31-4B8C-83A1-F6EECF244321}">
                <p14:modId xmlns:p14="http://schemas.microsoft.com/office/powerpoint/2010/main" val="184179741"/>
              </p:ext>
            </p:extLst>
          </p:nvPr>
        </p:nvGraphicFramePr>
        <p:xfrm>
          <a:off x="66674" y="3474332"/>
          <a:ext cx="12030606" cy="3086129"/>
        </p:xfrm>
        <a:graphic>
          <a:graphicData uri="http://schemas.openxmlformats.org/drawingml/2006/table">
            <a:tbl>
              <a:tblPr/>
              <a:tblGrid>
                <a:gridCol w="539668">
                  <a:extLst>
                    <a:ext uri="{9D8B030D-6E8A-4147-A177-3AD203B41FA5}">
                      <a16:colId xmlns:a16="http://schemas.microsoft.com/office/drawing/2014/main" val="1148265902"/>
                    </a:ext>
                  </a:extLst>
                </a:gridCol>
                <a:gridCol w="285608">
                  <a:extLst>
                    <a:ext uri="{9D8B030D-6E8A-4147-A177-3AD203B41FA5}">
                      <a16:colId xmlns:a16="http://schemas.microsoft.com/office/drawing/2014/main" val="4204192688"/>
                    </a:ext>
                  </a:extLst>
                </a:gridCol>
                <a:gridCol w="285608">
                  <a:extLst>
                    <a:ext uri="{9D8B030D-6E8A-4147-A177-3AD203B41FA5}">
                      <a16:colId xmlns:a16="http://schemas.microsoft.com/office/drawing/2014/main" val="2832739057"/>
                    </a:ext>
                  </a:extLst>
                </a:gridCol>
                <a:gridCol w="285608">
                  <a:extLst>
                    <a:ext uri="{9D8B030D-6E8A-4147-A177-3AD203B41FA5}">
                      <a16:colId xmlns:a16="http://schemas.microsoft.com/office/drawing/2014/main" val="2099542548"/>
                    </a:ext>
                  </a:extLst>
                </a:gridCol>
                <a:gridCol w="285608">
                  <a:extLst>
                    <a:ext uri="{9D8B030D-6E8A-4147-A177-3AD203B41FA5}">
                      <a16:colId xmlns:a16="http://schemas.microsoft.com/office/drawing/2014/main" val="2917192428"/>
                    </a:ext>
                  </a:extLst>
                </a:gridCol>
                <a:gridCol w="285608">
                  <a:extLst>
                    <a:ext uri="{9D8B030D-6E8A-4147-A177-3AD203B41FA5}">
                      <a16:colId xmlns:a16="http://schemas.microsoft.com/office/drawing/2014/main" val="3303836253"/>
                    </a:ext>
                  </a:extLst>
                </a:gridCol>
                <a:gridCol w="285608">
                  <a:extLst>
                    <a:ext uri="{9D8B030D-6E8A-4147-A177-3AD203B41FA5}">
                      <a16:colId xmlns:a16="http://schemas.microsoft.com/office/drawing/2014/main" val="1523759964"/>
                    </a:ext>
                  </a:extLst>
                </a:gridCol>
                <a:gridCol w="285608">
                  <a:extLst>
                    <a:ext uri="{9D8B030D-6E8A-4147-A177-3AD203B41FA5}">
                      <a16:colId xmlns:a16="http://schemas.microsoft.com/office/drawing/2014/main" val="2337675349"/>
                    </a:ext>
                  </a:extLst>
                </a:gridCol>
                <a:gridCol w="285608">
                  <a:extLst>
                    <a:ext uri="{9D8B030D-6E8A-4147-A177-3AD203B41FA5}">
                      <a16:colId xmlns:a16="http://schemas.microsoft.com/office/drawing/2014/main" val="4089801870"/>
                    </a:ext>
                  </a:extLst>
                </a:gridCol>
                <a:gridCol w="285608">
                  <a:extLst>
                    <a:ext uri="{9D8B030D-6E8A-4147-A177-3AD203B41FA5}">
                      <a16:colId xmlns:a16="http://schemas.microsoft.com/office/drawing/2014/main" val="438152286"/>
                    </a:ext>
                  </a:extLst>
                </a:gridCol>
                <a:gridCol w="285608">
                  <a:extLst>
                    <a:ext uri="{9D8B030D-6E8A-4147-A177-3AD203B41FA5}">
                      <a16:colId xmlns:a16="http://schemas.microsoft.com/office/drawing/2014/main" val="638801499"/>
                    </a:ext>
                  </a:extLst>
                </a:gridCol>
                <a:gridCol w="285608">
                  <a:extLst>
                    <a:ext uri="{9D8B030D-6E8A-4147-A177-3AD203B41FA5}">
                      <a16:colId xmlns:a16="http://schemas.microsoft.com/office/drawing/2014/main" val="3950936490"/>
                    </a:ext>
                  </a:extLst>
                </a:gridCol>
                <a:gridCol w="285608">
                  <a:extLst>
                    <a:ext uri="{9D8B030D-6E8A-4147-A177-3AD203B41FA5}">
                      <a16:colId xmlns:a16="http://schemas.microsoft.com/office/drawing/2014/main" val="692519158"/>
                    </a:ext>
                  </a:extLst>
                </a:gridCol>
                <a:gridCol w="285608">
                  <a:extLst>
                    <a:ext uri="{9D8B030D-6E8A-4147-A177-3AD203B41FA5}">
                      <a16:colId xmlns:a16="http://schemas.microsoft.com/office/drawing/2014/main" val="3096728759"/>
                    </a:ext>
                  </a:extLst>
                </a:gridCol>
                <a:gridCol w="285608">
                  <a:extLst>
                    <a:ext uri="{9D8B030D-6E8A-4147-A177-3AD203B41FA5}">
                      <a16:colId xmlns:a16="http://schemas.microsoft.com/office/drawing/2014/main" val="986585950"/>
                    </a:ext>
                  </a:extLst>
                </a:gridCol>
                <a:gridCol w="285608">
                  <a:extLst>
                    <a:ext uri="{9D8B030D-6E8A-4147-A177-3AD203B41FA5}">
                      <a16:colId xmlns:a16="http://schemas.microsoft.com/office/drawing/2014/main" val="1303995510"/>
                    </a:ext>
                  </a:extLst>
                </a:gridCol>
                <a:gridCol w="285608">
                  <a:extLst>
                    <a:ext uri="{9D8B030D-6E8A-4147-A177-3AD203B41FA5}">
                      <a16:colId xmlns:a16="http://schemas.microsoft.com/office/drawing/2014/main" val="1283637581"/>
                    </a:ext>
                  </a:extLst>
                </a:gridCol>
                <a:gridCol w="285608">
                  <a:extLst>
                    <a:ext uri="{9D8B030D-6E8A-4147-A177-3AD203B41FA5}">
                      <a16:colId xmlns:a16="http://schemas.microsoft.com/office/drawing/2014/main" val="2649751233"/>
                    </a:ext>
                  </a:extLst>
                </a:gridCol>
                <a:gridCol w="285608">
                  <a:extLst>
                    <a:ext uri="{9D8B030D-6E8A-4147-A177-3AD203B41FA5}">
                      <a16:colId xmlns:a16="http://schemas.microsoft.com/office/drawing/2014/main" val="1217992675"/>
                    </a:ext>
                  </a:extLst>
                </a:gridCol>
                <a:gridCol w="285608">
                  <a:extLst>
                    <a:ext uri="{9D8B030D-6E8A-4147-A177-3AD203B41FA5}">
                      <a16:colId xmlns:a16="http://schemas.microsoft.com/office/drawing/2014/main" val="1902830751"/>
                    </a:ext>
                  </a:extLst>
                </a:gridCol>
                <a:gridCol w="285608">
                  <a:extLst>
                    <a:ext uri="{9D8B030D-6E8A-4147-A177-3AD203B41FA5}">
                      <a16:colId xmlns:a16="http://schemas.microsoft.com/office/drawing/2014/main" val="587655968"/>
                    </a:ext>
                  </a:extLst>
                </a:gridCol>
                <a:gridCol w="285608">
                  <a:extLst>
                    <a:ext uri="{9D8B030D-6E8A-4147-A177-3AD203B41FA5}">
                      <a16:colId xmlns:a16="http://schemas.microsoft.com/office/drawing/2014/main" val="3512822322"/>
                    </a:ext>
                  </a:extLst>
                </a:gridCol>
                <a:gridCol w="307814">
                  <a:extLst>
                    <a:ext uri="{9D8B030D-6E8A-4147-A177-3AD203B41FA5}">
                      <a16:colId xmlns:a16="http://schemas.microsoft.com/office/drawing/2014/main" val="2659333034"/>
                    </a:ext>
                  </a:extLst>
                </a:gridCol>
                <a:gridCol w="307814">
                  <a:extLst>
                    <a:ext uri="{9D8B030D-6E8A-4147-A177-3AD203B41FA5}">
                      <a16:colId xmlns:a16="http://schemas.microsoft.com/office/drawing/2014/main" val="406694194"/>
                    </a:ext>
                  </a:extLst>
                </a:gridCol>
                <a:gridCol w="307814">
                  <a:extLst>
                    <a:ext uri="{9D8B030D-6E8A-4147-A177-3AD203B41FA5}">
                      <a16:colId xmlns:a16="http://schemas.microsoft.com/office/drawing/2014/main" val="4229582658"/>
                    </a:ext>
                  </a:extLst>
                </a:gridCol>
                <a:gridCol w="285608">
                  <a:extLst>
                    <a:ext uri="{9D8B030D-6E8A-4147-A177-3AD203B41FA5}">
                      <a16:colId xmlns:a16="http://schemas.microsoft.com/office/drawing/2014/main" val="2660004666"/>
                    </a:ext>
                  </a:extLst>
                </a:gridCol>
                <a:gridCol w="285608">
                  <a:extLst>
                    <a:ext uri="{9D8B030D-6E8A-4147-A177-3AD203B41FA5}">
                      <a16:colId xmlns:a16="http://schemas.microsoft.com/office/drawing/2014/main" val="1863008928"/>
                    </a:ext>
                  </a:extLst>
                </a:gridCol>
                <a:gridCol w="285608">
                  <a:extLst>
                    <a:ext uri="{9D8B030D-6E8A-4147-A177-3AD203B41FA5}">
                      <a16:colId xmlns:a16="http://schemas.microsoft.com/office/drawing/2014/main" val="1724770166"/>
                    </a:ext>
                  </a:extLst>
                </a:gridCol>
                <a:gridCol w="285608">
                  <a:extLst>
                    <a:ext uri="{9D8B030D-6E8A-4147-A177-3AD203B41FA5}">
                      <a16:colId xmlns:a16="http://schemas.microsoft.com/office/drawing/2014/main" val="4101828230"/>
                    </a:ext>
                  </a:extLst>
                </a:gridCol>
                <a:gridCol w="285608">
                  <a:extLst>
                    <a:ext uri="{9D8B030D-6E8A-4147-A177-3AD203B41FA5}">
                      <a16:colId xmlns:a16="http://schemas.microsoft.com/office/drawing/2014/main" val="3546332885"/>
                    </a:ext>
                  </a:extLst>
                </a:gridCol>
                <a:gridCol w="285608">
                  <a:extLst>
                    <a:ext uri="{9D8B030D-6E8A-4147-A177-3AD203B41FA5}">
                      <a16:colId xmlns:a16="http://schemas.microsoft.com/office/drawing/2014/main" val="3623313660"/>
                    </a:ext>
                  </a:extLst>
                </a:gridCol>
                <a:gridCol w="285608">
                  <a:extLst>
                    <a:ext uri="{9D8B030D-6E8A-4147-A177-3AD203B41FA5}">
                      <a16:colId xmlns:a16="http://schemas.microsoft.com/office/drawing/2014/main" val="4168948778"/>
                    </a:ext>
                  </a:extLst>
                </a:gridCol>
                <a:gridCol w="285608">
                  <a:extLst>
                    <a:ext uri="{9D8B030D-6E8A-4147-A177-3AD203B41FA5}">
                      <a16:colId xmlns:a16="http://schemas.microsoft.com/office/drawing/2014/main" val="2449692998"/>
                    </a:ext>
                  </a:extLst>
                </a:gridCol>
                <a:gridCol w="285608">
                  <a:extLst>
                    <a:ext uri="{9D8B030D-6E8A-4147-A177-3AD203B41FA5}">
                      <a16:colId xmlns:a16="http://schemas.microsoft.com/office/drawing/2014/main" val="2022388989"/>
                    </a:ext>
                  </a:extLst>
                </a:gridCol>
                <a:gridCol w="285608">
                  <a:extLst>
                    <a:ext uri="{9D8B030D-6E8A-4147-A177-3AD203B41FA5}">
                      <a16:colId xmlns:a16="http://schemas.microsoft.com/office/drawing/2014/main" val="3645021138"/>
                    </a:ext>
                  </a:extLst>
                </a:gridCol>
                <a:gridCol w="285608">
                  <a:extLst>
                    <a:ext uri="{9D8B030D-6E8A-4147-A177-3AD203B41FA5}">
                      <a16:colId xmlns:a16="http://schemas.microsoft.com/office/drawing/2014/main" val="713122468"/>
                    </a:ext>
                  </a:extLst>
                </a:gridCol>
                <a:gridCol w="285608">
                  <a:extLst>
                    <a:ext uri="{9D8B030D-6E8A-4147-A177-3AD203B41FA5}">
                      <a16:colId xmlns:a16="http://schemas.microsoft.com/office/drawing/2014/main" val="2426586290"/>
                    </a:ext>
                  </a:extLst>
                </a:gridCol>
                <a:gridCol w="285608">
                  <a:extLst>
                    <a:ext uri="{9D8B030D-6E8A-4147-A177-3AD203B41FA5}">
                      <a16:colId xmlns:a16="http://schemas.microsoft.com/office/drawing/2014/main" val="3503346519"/>
                    </a:ext>
                  </a:extLst>
                </a:gridCol>
                <a:gridCol w="285608">
                  <a:extLst>
                    <a:ext uri="{9D8B030D-6E8A-4147-A177-3AD203B41FA5}">
                      <a16:colId xmlns:a16="http://schemas.microsoft.com/office/drawing/2014/main" val="429664569"/>
                    </a:ext>
                  </a:extLst>
                </a:gridCol>
                <a:gridCol w="285608">
                  <a:extLst>
                    <a:ext uri="{9D8B030D-6E8A-4147-A177-3AD203B41FA5}">
                      <a16:colId xmlns:a16="http://schemas.microsoft.com/office/drawing/2014/main" val="2565349325"/>
                    </a:ext>
                  </a:extLst>
                </a:gridCol>
                <a:gridCol w="285608">
                  <a:extLst>
                    <a:ext uri="{9D8B030D-6E8A-4147-A177-3AD203B41FA5}">
                      <a16:colId xmlns:a16="http://schemas.microsoft.com/office/drawing/2014/main" val="189841206"/>
                    </a:ext>
                  </a:extLst>
                </a:gridCol>
              </a:tblGrid>
              <a:tr h="318882">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212588">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7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15 (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8 (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5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9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8 (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1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212588">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1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9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1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0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6 (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43724">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212588">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43724">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212588">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8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212588">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8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43724">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43724">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43724">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dirty="0">
                          <a:solidFill>
                            <a:srgbClr val="000000"/>
                          </a:solidFill>
                          <a:effectLst/>
                          <a:latin typeface="Calibri" panose="020F0502020204030204" pitchFamily="34" charset="0"/>
                        </a:rPr>
                        <a:t>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43724">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4 (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4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212588">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204199">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4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0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05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212588">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5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8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6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7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3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lnSpc>
                          <a:spcPts val="800"/>
                        </a:lnSpc>
                      </a:pPr>
                      <a:r>
                        <a:rPr lang="cs-CZ" sz="800" b="0"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212588">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9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97 (4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81 (6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14 (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74 (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23 (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5 (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6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7 (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3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48 (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31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9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5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1 (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a:solidFill>
                            <a:srgbClr val="000000"/>
                          </a:solidFill>
                          <a:effectLst/>
                          <a:latin typeface="Calibri" panose="020F0502020204030204" pitchFamily="34" charset="0"/>
                        </a:rPr>
                        <a:t>2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lnSpc>
                          <a:spcPts val="800"/>
                        </a:lnSpc>
                      </a:pPr>
                      <a:r>
                        <a:rPr lang="cs-CZ" sz="800" b="1" i="0" u="none" strike="noStrike" dirty="0">
                          <a:solidFill>
                            <a:srgbClr val="000000"/>
                          </a:solidFill>
                          <a:effectLst/>
                          <a:latin typeface="Calibri" panose="020F0502020204030204" pitchFamily="34" charset="0"/>
                        </a:rPr>
                        <a:t>23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SŠ s vyššími stupni vzdělávání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graphicFrame>
        <p:nvGraphicFramePr>
          <p:cNvPr id="11" name="Tabulka 10">
            <a:extLst>
              <a:ext uri="{FF2B5EF4-FFF2-40B4-BE49-F238E27FC236}">
                <a16:creationId xmlns:a16="http://schemas.microsoft.com/office/drawing/2014/main" id="{816E4C43-79CF-4F4E-8F21-FF2FAE6F2949}"/>
              </a:ext>
            </a:extLst>
          </p:cNvPr>
          <p:cNvGraphicFramePr>
            <a:graphicFrameLocks noGrp="1"/>
          </p:cNvGraphicFramePr>
          <p:nvPr>
            <p:extLst>
              <p:ext uri="{D42A27DB-BD31-4B8C-83A1-F6EECF244321}">
                <p14:modId xmlns:p14="http://schemas.microsoft.com/office/powerpoint/2010/main" val="2197127687"/>
              </p:ext>
            </p:extLst>
          </p:nvPr>
        </p:nvGraphicFramePr>
        <p:xfrm>
          <a:off x="675776" y="3195180"/>
          <a:ext cx="11311834"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58623">
                  <a:extLst>
                    <a:ext uri="{9D8B030D-6E8A-4147-A177-3AD203B41FA5}">
                      <a16:colId xmlns:a16="http://schemas.microsoft.com/office/drawing/2014/main" val="4227063480"/>
                    </a:ext>
                  </a:extLst>
                </a:gridCol>
                <a:gridCol w="258623">
                  <a:extLst>
                    <a:ext uri="{9D8B030D-6E8A-4147-A177-3AD203B41FA5}">
                      <a16:colId xmlns:a16="http://schemas.microsoft.com/office/drawing/2014/main" val="4235552383"/>
                    </a:ext>
                  </a:extLst>
                </a:gridCol>
                <a:gridCol w="258623">
                  <a:extLst>
                    <a:ext uri="{9D8B030D-6E8A-4147-A177-3AD203B41FA5}">
                      <a16:colId xmlns:a16="http://schemas.microsoft.com/office/drawing/2014/main" val="4039418599"/>
                    </a:ext>
                  </a:extLst>
                </a:gridCol>
                <a:gridCol w="258623">
                  <a:extLst>
                    <a:ext uri="{9D8B030D-6E8A-4147-A177-3AD203B41FA5}">
                      <a16:colId xmlns:a16="http://schemas.microsoft.com/office/drawing/2014/main" val="494190901"/>
                    </a:ext>
                  </a:extLst>
                </a:gridCol>
                <a:gridCol w="258623">
                  <a:extLst>
                    <a:ext uri="{9D8B030D-6E8A-4147-A177-3AD203B41FA5}">
                      <a16:colId xmlns:a16="http://schemas.microsoft.com/office/drawing/2014/main" val="3955479085"/>
                    </a:ext>
                  </a:extLst>
                </a:gridCol>
                <a:gridCol w="258623">
                  <a:extLst>
                    <a:ext uri="{9D8B030D-6E8A-4147-A177-3AD203B41FA5}">
                      <a16:colId xmlns:a16="http://schemas.microsoft.com/office/drawing/2014/main" val="871778667"/>
                    </a:ext>
                  </a:extLst>
                </a:gridCol>
                <a:gridCol w="258623">
                  <a:extLst>
                    <a:ext uri="{9D8B030D-6E8A-4147-A177-3AD203B41FA5}">
                      <a16:colId xmlns:a16="http://schemas.microsoft.com/office/drawing/2014/main" val="2072097272"/>
                    </a:ext>
                  </a:extLst>
                </a:gridCol>
                <a:gridCol w="258623">
                  <a:extLst>
                    <a:ext uri="{9D8B030D-6E8A-4147-A177-3AD203B41FA5}">
                      <a16:colId xmlns:a16="http://schemas.microsoft.com/office/drawing/2014/main" val="807778385"/>
                    </a:ext>
                  </a:extLst>
                </a:gridCol>
                <a:gridCol w="258623">
                  <a:extLst>
                    <a:ext uri="{9D8B030D-6E8A-4147-A177-3AD203B41FA5}">
                      <a16:colId xmlns:a16="http://schemas.microsoft.com/office/drawing/2014/main" val="2101451889"/>
                    </a:ext>
                  </a:extLst>
                </a:gridCol>
                <a:gridCol w="258623">
                  <a:extLst>
                    <a:ext uri="{9D8B030D-6E8A-4147-A177-3AD203B41FA5}">
                      <a16:colId xmlns:a16="http://schemas.microsoft.com/office/drawing/2014/main" val="3605028481"/>
                    </a:ext>
                  </a:extLst>
                </a:gridCol>
                <a:gridCol w="258623">
                  <a:extLst>
                    <a:ext uri="{9D8B030D-6E8A-4147-A177-3AD203B41FA5}">
                      <a16:colId xmlns:a16="http://schemas.microsoft.com/office/drawing/2014/main" val="752428201"/>
                    </a:ext>
                  </a:extLst>
                </a:gridCol>
                <a:gridCol w="258623">
                  <a:extLst>
                    <a:ext uri="{9D8B030D-6E8A-4147-A177-3AD203B41FA5}">
                      <a16:colId xmlns:a16="http://schemas.microsoft.com/office/drawing/2014/main" val="1978385625"/>
                    </a:ext>
                  </a:extLst>
                </a:gridCol>
                <a:gridCol w="258623">
                  <a:extLst>
                    <a:ext uri="{9D8B030D-6E8A-4147-A177-3AD203B41FA5}">
                      <a16:colId xmlns:a16="http://schemas.microsoft.com/office/drawing/2014/main" val="884251675"/>
                    </a:ext>
                  </a:extLst>
                </a:gridCol>
                <a:gridCol w="258623">
                  <a:extLst>
                    <a:ext uri="{9D8B030D-6E8A-4147-A177-3AD203B41FA5}">
                      <a16:colId xmlns:a16="http://schemas.microsoft.com/office/drawing/2014/main" val="4135560205"/>
                    </a:ext>
                  </a:extLst>
                </a:gridCol>
                <a:gridCol w="258623">
                  <a:extLst>
                    <a:ext uri="{9D8B030D-6E8A-4147-A177-3AD203B41FA5}">
                      <a16:colId xmlns:a16="http://schemas.microsoft.com/office/drawing/2014/main" val="1879333647"/>
                    </a:ext>
                  </a:extLst>
                </a:gridCol>
                <a:gridCol w="258623">
                  <a:extLst>
                    <a:ext uri="{9D8B030D-6E8A-4147-A177-3AD203B41FA5}">
                      <a16:colId xmlns:a16="http://schemas.microsoft.com/office/drawing/2014/main" val="3213576122"/>
                    </a:ext>
                  </a:extLst>
                </a:gridCol>
                <a:gridCol w="258623">
                  <a:extLst>
                    <a:ext uri="{9D8B030D-6E8A-4147-A177-3AD203B41FA5}">
                      <a16:colId xmlns:a16="http://schemas.microsoft.com/office/drawing/2014/main" val="2832026134"/>
                    </a:ext>
                  </a:extLst>
                </a:gridCol>
                <a:gridCol w="258623">
                  <a:extLst>
                    <a:ext uri="{9D8B030D-6E8A-4147-A177-3AD203B41FA5}">
                      <a16:colId xmlns:a16="http://schemas.microsoft.com/office/drawing/2014/main" val="3864348483"/>
                    </a:ext>
                  </a:extLst>
                </a:gridCol>
                <a:gridCol w="258623">
                  <a:extLst>
                    <a:ext uri="{9D8B030D-6E8A-4147-A177-3AD203B41FA5}">
                      <a16:colId xmlns:a16="http://schemas.microsoft.com/office/drawing/2014/main" val="666246963"/>
                    </a:ext>
                  </a:extLst>
                </a:gridCol>
                <a:gridCol w="258623">
                  <a:extLst>
                    <a:ext uri="{9D8B030D-6E8A-4147-A177-3AD203B41FA5}">
                      <a16:colId xmlns:a16="http://schemas.microsoft.com/office/drawing/2014/main" val="3516127860"/>
                    </a:ext>
                  </a:extLst>
                </a:gridCol>
                <a:gridCol w="258623">
                  <a:extLst>
                    <a:ext uri="{9D8B030D-6E8A-4147-A177-3AD203B41FA5}">
                      <a16:colId xmlns:a16="http://schemas.microsoft.com/office/drawing/2014/main" val="3762784262"/>
                    </a:ext>
                  </a:extLst>
                </a:gridCol>
                <a:gridCol w="258623">
                  <a:extLst>
                    <a:ext uri="{9D8B030D-6E8A-4147-A177-3AD203B41FA5}">
                      <a16:colId xmlns:a16="http://schemas.microsoft.com/office/drawing/2014/main" val="3847832075"/>
                    </a:ext>
                  </a:extLst>
                </a:gridCol>
                <a:gridCol w="258623">
                  <a:extLst>
                    <a:ext uri="{9D8B030D-6E8A-4147-A177-3AD203B41FA5}">
                      <a16:colId xmlns:a16="http://schemas.microsoft.com/office/drawing/2014/main" val="1671688524"/>
                    </a:ext>
                  </a:extLst>
                </a:gridCol>
                <a:gridCol w="258623">
                  <a:extLst>
                    <a:ext uri="{9D8B030D-6E8A-4147-A177-3AD203B41FA5}">
                      <a16:colId xmlns:a16="http://schemas.microsoft.com/office/drawing/2014/main" val="1333259349"/>
                    </a:ext>
                  </a:extLst>
                </a:gridCol>
                <a:gridCol w="258623">
                  <a:extLst>
                    <a:ext uri="{9D8B030D-6E8A-4147-A177-3AD203B41FA5}">
                      <a16:colId xmlns:a16="http://schemas.microsoft.com/office/drawing/2014/main" val="296449698"/>
                    </a:ext>
                  </a:extLst>
                </a:gridCol>
                <a:gridCol w="258623">
                  <a:extLst>
                    <a:ext uri="{9D8B030D-6E8A-4147-A177-3AD203B41FA5}">
                      <a16:colId xmlns:a16="http://schemas.microsoft.com/office/drawing/2014/main" val="3887071798"/>
                    </a:ext>
                  </a:extLst>
                </a:gridCol>
                <a:gridCol w="258623">
                  <a:extLst>
                    <a:ext uri="{9D8B030D-6E8A-4147-A177-3AD203B41FA5}">
                      <a16:colId xmlns:a16="http://schemas.microsoft.com/office/drawing/2014/main" val="2961222335"/>
                    </a:ext>
                  </a:extLst>
                </a:gridCol>
                <a:gridCol w="258623">
                  <a:extLst>
                    <a:ext uri="{9D8B030D-6E8A-4147-A177-3AD203B41FA5}">
                      <a16:colId xmlns:a16="http://schemas.microsoft.com/office/drawing/2014/main" val="2142809054"/>
                    </a:ext>
                  </a:extLst>
                </a:gridCol>
                <a:gridCol w="258623">
                  <a:extLst>
                    <a:ext uri="{9D8B030D-6E8A-4147-A177-3AD203B41FA5}">
                      <a16:colId xmlns:a16="http://schemas.microsoft.com/office/drawing/2014/main" val="2007159708"/>
                    </a:ext>
                  </a:extLst>
                </a:gridCol>
                <a:gridCol w="258623">
                  <a:extLst>
                    <a:ext uri="{9D8B030D-6E8A-4147-A177-3AD203B41FA5}">
                      <a16:colId xmlns:a16="http://schemas.microsoft.com/office/drawing/2014/main" val="3706935270"/>
                    </a:ext>
                  </a:extLst>
                </a:gridCol>
                <a:gridCol w="258623">
                  <a:extLst>
                    <a:ext uri="{9D8B030D-6E8A-4147-A177-3AD203B41FA5}">
                      <a16:colId xmlns:a16="http://schemas.microsoft.com/office/drawing/2014/main" val="2232617973"/>
                    </a:ext>
                  </a:extLst>
                </a:gridCol>
                <a:gridCol w="258623">
                  <a:extLst>
                    <a:ext uri="{9D8B030D-6E8A-4147-A177-3AD203B41FA5}">
                      <a16:colId xmlns:a16="http://schemas.microsoft.com/office/drawing/2014/main" val="4024943643"/>
                    </a:ext>
                  </a:extLst>
                </a:gridCol>
                <a:gridCol w="258623">
                  <a:extLst>
                    <a:ext uri="{9D8B030D-6E8A-4147-A177-3AD203B41FA5}">
                      <a16:colId xmlns:a16="http://schemas.microsoft.com/office/drawing/2014/main" val="3199493144"/>
                    </a:ext>
                  </a:extLst>
                </a:gridCol>
                <a:gridCol w="258623">
                  <a:extLst>
                    <a:ext uri="{9D8B030D-6E8A-4147-A177-3AD203B41FA5}">
                      <a16:colId xmlns:a16="http://schemas.microsoft.com/office/drawing/2014/main" val="421246884"/>
                    </a:ext>
                  </a:extLst>
                </a:gridCol>
                <a:gridCol w="258623">
                  <a:extLst>
                    <a:ext uri="{9D8B030D-6E8A-4147-A177-3AD203B41FA5}">
                      <a16:colId xmlns:a16="http://schemas.microsoft.com/office/drawing/2014/main" val="3403047261"/>
                    </a:ext>
                  </a:extLst>
                </a:gridCol>
                <a:gridCol w="258623">
                  <a:extLst>
                    <a:ext uri="{9D8B030D-6E8A-4147-A177-3AD203B41FA5}">
                      <a16:colId xmlns:a16="http://schemas.microsoft.com/office/drawing/2014/main" val="2450099608"/>
                    </a:ext>
                  </a:extLst>
                </a:gridCol>
                <a:gridCol w="258623">
                  <a:extLst>
                    <a:ext uri="{9D8B030D-6E8A-4147-A177-3AD203B41FA5}">
                      <a16:colId xmlns:a16="http://schemas.microsoft.com/office/drawing/2014/main" val="3180496263"/>
                    </a:ext>
                  </a:extLst>
                </a:gridCol>
                <a:gridCol w="258623">
                  <a:extLst>
                    <a:ext uri="{9D8B030D-6E8A-4147-A177-3AD203B41FA5}">
                      <a16:colId xmlns:a16="http://schemas.microsoft.com/office/drawing/2014/main" val="3427491862"/>
                    </a:ext>
                  </a:extLst>
                </a:gridCol>
                <a:gridCol w="258623">
                  <a:extLst>
                    <a:ext uri="{9D8B030D-6E8A-4147-A177-3AD203B41FA5}">
                      <a16:colId xmlns:a16="http://schemas.microsoft.com/office/drawing/2014/main" val="2050575378"/>
                    </a:ext>
                  </a:extLst>
                </a:gridCol>
                <a:gridCol w="258623">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200" b="1" i="1" u="none" strike="noStrike" dirty="0">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42082260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7DEEB574-CDEC-4E4F-A547-B25B81A72AFF}"/>
              </a:ext>
            </a:extLst>
          </p:cNvPr>
          <p:cNvGraphicFramePr>
            <a:graphicFrameLocks noGrp="1"/>
          </p:cNvGraphicFramePr>
          <p:nvPr>
            <p:extLst>
              <p:ext uri="{D42A27DB-BD31-4B8C-83A1-F6EECF244321}">
                <p14:modId xmlns:p14="http://schemas.microsoft.com/office/powerpoint/2010/main" val="2943244681"/>
              </p:ext>
            </p:extLst>
          </p:nvPr>
        </p:nvGraphicFramePr>
        <p:xfrm>
          <a:off x="895350" y="1522551"/>
          <a:ext cx="11198680" cy="4392000"/>
        </p:xfrm>
        <a:graphic>
          <a:graphicData uri="http://schemas.openxmlformats.org/drawingml/2006/table">
            <a:tbl>
              <a:tblPr/>
              <a:tblGrid>
                <a:gridCol w="279967">
                  <a:extLst>
                    <a:ext uri="{9D8B030D-6E8A-4147-A177-3AD203B41FA5}">
                      <a16:colId xmlns:a16="http://schemas.microsoft.com/office/drawing/2014/main" val="4219924969"/>
                    </a:ext>
                  </a:extLst>
                </a:gridCol>
                <a:gridCol w="279967">
                  <a:extLst>
                    <a:ext uri="{9D8B030D-6E8A-4147-A177-3AD203B41FA5}">
                      <a16:colId xmlns:a16="http://schemas.microsoft.com/office/drawing/2014/main" val="3398934108"/>
                    </a:ext>
                  </a:extLst>
                </a:gridCol>
                <a:gridCol w="279967">
                  <a:extLst>
                    <a:ext uri="{9D8B030D-6E8A-4147-A177-3AD203B41FA5}">
                      <a16:colId xmlns:a16="http://schemas.microsoft.com/office/drawing/2014/main" val="2844245941"/>
                    </a:ext>
                  </a:extLst>
                </a:gridCol>
                <a:gridCol w="279967">
                  <a:extLst>
                    <a:ext uri="{9D8B030D-6E8A-4147-A177-3AD203B41FA5}">
                      <a16:colId xmlns:a16="http://schemas.microsoft.com/office/drawing/2014/main" val="783970575"/>
                    </a:ext>
                  </a:extLst>
                </a:gridCol>
                <a:gridCol w="279967">
                  <a:extLst>
                    <a:ext uri="{9D8B030D-6E8A-4147-A177-3AD203B41FA5}">
                      <a16:colId xmlns:a16="http://schemas.microsoft.com/office/drawing/2014/main" val="3009368862"/>
                    </a:ext>
                  </a:extLst>
                </a:gridCol>
                <a:gridCol w="279967">
                  <a:extLst>
                    <a:ext uri="{9D8B030D-6E8A-4147-A177-3AD203B41FA5}">
                      <a16:colId xmlns:a16="http://schemas.microsoft.com/office/drawing/2014/main" val="1305014971"/>
                    </a:ext>
                  </a:extLst>
                </a:gridCol>
                <a:gridCol w="279967">
                  <a:extLst>
                    <a:ext uri="{9D8B030D-6E8A-4147-A177-3AD203B41FA5}">
                      <a16:colId xmlns:a16="http://schemas.microsoft.com/office/drawing/2014/main" val="499829652"/>
                    </a:ext>
                  </a:extLst>
                </a:gridCol>
                <a:gridCol w="279967">
                  <a:extLst>
                    <a:ext uri="{9D8B030D-6E8A-4147-A177-3AD203B41FA5}">
                      <a16:colId xmlns:a16="http://schemas.microsoft.com/office/drawing/2014/main" val="402179265"/>
                    </a:ext>
                  </a:extLst>
                </a:gridCol>
                <a:gridCol w="279967">
                  <a:extLst>
                    <a:ext uri="{9D8B030D-6E8A-4147-A177-3AD203B41FA5}">
                      <a16:colId xmlns:a16="http://schemas.microsoft.com/office/drawing/2014/main" val="2976095594"/>
                    </a:ext>
                  </a:extLst>
                </a:gridCol>
                <a:gridCol w="279967">
                  <a:extLst>
                    <a:ext uri="{9D8B030D-6E8A-4147-A177-3AD203B41FA5}">
                      <a16:colId xmlns:a16="http://schemas.microsoft.com/office/drawing/2014/main" val="3158742300"/>
                    </a:ext>
                  </a:extLst>
                </a:gridCol>
                <a:gridCol w="279967">
                  <a:extLst>
                    <a:ext uri="{9D8B030D-6E8A-4147-A177-3AD203B41FA5}">
                      <a16:colId xmlns:a16="http://schemas.microsoft.com/office/drawing/2014/main" val="2453579755"/>
                    </a:ext>
                  </a:extLst>
                </a:gridCol>
                <a:gridCol w="279967">
                  <a:extLst>
                    <a:ext uri="{9D8B030D-6E8A-4147-A177-3AD203B41FA5}">
                      <a16:colId xmlns:a16="http://schemas.microsoft.com/office/drawing/2014/main" val="3385292575"/>
                    </a:ext>
                  </a:extLst>
                </a:gridCol>
                <a:gridCol w="279967">
                  <a:extLst>
                    <a:ext uri="{9D8B030D-6E8A-4147-A177-3AD203B41FA5}">
                      <a16:colId xmlns:a16="http://schemas.microsoft.com/office/drawing/2014/main" val="1469699661"/>
                    </a:ext>
                  </a:extLst>
                </a:gridCol>
                <a:gridCol w="279967">
                  <a:extLst>
                    <a:ext uri="{9D8B030D-6E8A-4147-A177-3AD203B41FA5}">
                      <a16:colId xmlns:a16="http://schemas.microsoft.com/office/drawing/2014/main" val="4092227077"/>
                    </a:ext>
                  </a:extLst>
                </a:gridCol>
                <a:gridCol w="279967">
                  <a:extLst>
                    <a:ext uri="{9D8B030D-6E8A-4147-A177-3AD203B41FA5}">
                      <a16:colId xmlns:a16="http://schemas.microsoft.com/office/drawing/2014/main" val="1451658944"/>
                    </a:ext>
                  </a:extLst>
                </a:gridCol>
                <a:gridCol w="279967">
                  <a:extLst>
                    <a:ext uri="{9D8B030D-6E8A-4147-A177-3AD203B41FA5}">
                      <a16:colId xmlns:a16="http://schemas.microsoft.com/office/drawing/2014/main" val="1044111682"/>
                    </a:ext>
                  </a:extLst>
                </a:gridCol>
                <a:gridCol w="279967">
                  <a:extLst>
                    <a:ext uri="{9D8B030D-6E8A-4147-A177-3AD203B41FA5}">
                      <a16:colId xmlns:a16="http://schemas.microsoft.com/office/drawing/2014/main" val="1786976854"/>
                    </a:ext>
                  </a:extLst>
                </a:gridCol>
                <a:gridCol w="279967">
                  <a:extLst>
                    <a:ext uri="{9D8B030D-6E8A-4147-A177-3AD203B41FA5}">
                      <a16:colId xmlns:a16="http://schemas.microsoft.com/office/drawing/2014/main" val="3566398385"/>
                    </a:ext>
                  </a:extLst>
                </a:gridCol>
                <a:gridCol w="279967">
                  <a:extLst>
                    <a:ext uri="{9D8B030D-6E8A-4147-A177-3AD203B41FA5}">
                      <a16:colId xmlns:a16="http://schemas.microsoft.com/office/drawing/2014/main" val="101418504"/>
                    </a:ext>
                  </a:extLst>
                </a:gridCol>
                <a:gridCol w="279967">
                  <a:extLst>
                    <a:ext uri="{9D8B030D-6E8A-4147-A177-3AD203B41FA5}">
                      <a16:colId xmlns:a16="http://schemas.microsoft.com/office/drawing/2014/main" val="1844062126"/>
                    </a:ext>
                  </a:extLst>
                </a:gridCol>
                <a:gridCol w="279967">
                  <a:extLst>
                    <a:ext uri="{9D8B030D-6E8A-4147-A177-3AD203B41FA5}">
                      <a16:colId xmlns:a16="http://schemas.microsoft.com/office/drawing/2014/main" val="2975631244"/>
                    </a:ext>
                  </a:extLst>
                </a:gridCol>
                <a:gridCol w="279967">
                  <a:extLst>
                    <a:ext uri="{9D8B030D-6E8A-4147-A177-3AD203B41FA5}">
                      <a16:colId xmlns:a16="http://schemas.microsoft.com/office/drawing/2014/main" val="270519484"/>
                    </a:ext>
                  </a:extLst>
                </a:gridCol>
                <a:gridCol w="279967">
                  <a:extLst>
                    <a:ext uri="{9D8B030D-6E8A-4147-A177-3AD203B41FA5}">
                      <a16:colId xmlns:a16="http://schemas.microsoft.com/office/drawing/2014/main" val="3973944137"/>
                    </a:ext>
                  </a:extLst>
                </a:gridCol>
                <a:gridCol w="279967">
                  <a:extLst>
                    <a:ext uri="{9D8B030D-6E8A-4147-A177-3AD203B41FA5}">
                      <a16:colId xmlns:a16="http://schemas.microsoft.com/office/drawing/2014/main" val="2747514841"/>
                    </a:ext>
                  </a:extLst>
                </a:gridCol>
                <a:gridCol w="279967">
                  <a:extLst>
                    <a:ext uri="{9D8B030D-6E8A-4147-A177-3AD203B41FA5}">
                      <a16:colId xmlns:a16="http://schemas.microsoft.com/office/drawing/2014/main" val="147114286"/>
                    </a:ext>
                  </a:extLst>
                </a:gridCol>
                <a:gridCol w="279967">
                  <a:extLst>
                    <a:ext uri="{9D8B030D-6E8A-4147-A177-3AD203B41FA5}">
                      <a16:colId xmlns:a16="http://schemas.microsoft.com/office/drawing/2014/main" val="192997771"/>
                    </a:ext>
                  </a:extLst>
                </a:gridCol>
                <a:gridCol w="279967">
                  <a:extLst>
                    <a:ext uri="{9D8B030D-6E8A-4147-A177-3AD203B41FA5}">
                      <a16:colId xmlns:a16="http://schemas.microsoft.com/office/drawing/2014/main" val="1944030921"/>
                    </a:ext>
                  </a:extLst>
                </a:gridCol>
                <a:gridCol w="279967">
                  <a:extLst>
                    <a:ext uri="{9D8B030D-6E8A-4147-A177-3AD203B41FA5}">
                      <a16:colId xmlns:a16="http://schemas.microsoft.com/office/drawing/2014/main" val="1807131003"/>
                    </a:ext>
                  </a:extLst>
                </a:gridCol>
                <a:gridCol w="279967">
                  <a:extLst>
                    <a:ext uri="{9D8B030D-6E8A-4147-A177-3AD203B41FA5}">
                      <a16:colId xmlns:a16="http://schemas.microsoft.com/office/drawing/2014/main" val="2137950232"/>
                    </a:ext>
                  </a:extLst>
                </a:gridCol>
                <a:gridCol w="279967">
                  <a:extLst>
                    <a:ext uri="{9D8B030D-6E8A-4147-A177-3AD203B41FA5}">
                      <a16:colId xmlns:a16="http://schemas.microsoft.com/office/drawing/2014/main" val="4259345116"/>
                    </a:ext>
                  </a:extLst>
                </a:gridCol>
                <a:gridCol w="279967">
                  <a:extLst>
                    <a:ext uri="{9D8B030D-6E8A-4147-A177-3AD203B41FA5}">
                      <a16:colId xmlns:a16="http://schemas.microsoft.com/office/drawing/2014/main" val="2928626513"/>
                    </a:ext>
                  </a:extLst>
                </a:gridCol>
                <a:gridCol w="279967">
                  <a:extLst>
                    <a:ext uri="{9D8B030D-6E8A-4147-A177-3AD203B41FA5}">
                      <a16:colId xmlns:a16="http://schemas.microsoft.com/office/drawing/2014/main" val="3098116876"/>
                    </a:ext>
                  </a:extLst>
                </a:gridCol>
                <a:gridCol w="279967">
                  <a:extLst>
                    <a:ext uri="{9D8B030D-6E8A-4147-A177-3AD203B41FA5}">
                      <a16:colId xmlns:a16="http://schemas.microsoft.com/office/drawing/2014/main" val="1348722506"/>
                    </a:ext>
                  </a:extLst>
                </a:gridCol>
                <a:gridCol w="279967">
                  <a:extLst>
                    <a:ext uri="{9D8B030D-6E8A-4147-A177-3AD203B41FA5}">
                      <a16:colId xmlns:a16="http://schemas.microsoft.com/office/drawing/2014/main" val="962904142"/>
                    </a:ext>
                  </a:extLst>
                </a:gridCol>
                <a:gridCol w="279967">
                  <a:extLst>
                    <a:ext uri="{9D8B030D-6E8A-4147-A177-3AD203B41FA5}">
                      <a16:colId xmlns:a16="http://schemas.microsoft.com/office/drawing/2014/main" val="2351436811"/>
                    </a:ext>
                  </a:extLst>
                </a:gridCol>
                <a:gridCol w="279967">
                  <a:extLst>
                    <a:ext uri="{9D8B030D-6E8A-4147-A177-3AD203B41FA5}">
                      <a16:colId xmlns:a16="http://schemas.microsoft.com/office/drawing/2014/main" val="3051555954"/>
                    </a:ext>
                  </a:extLst>
                </a:gridCol>
                <a:gridCol w="279967">
                  <a:extLst>
                    <a:ext uri="{9D8B030D-6E8A-4147-A177-3AD203B41FA5}">
                      <a16:colId xmlns:a16="http://schemas.microsoft.com/office/drawing/2014/main" val="2677244994"/>
                    </a:ext>
                  </a:extLst>
                </a:gridCol>
                <a:gridCol w="279967">
                  <a:extLst>
                    <a:ext uri="{9D8B030D-6E8A-4147-A177-3AD203B41FA5}">
                      <a16:colId xmlns:a16="http://schemas.microsoft.com/office/drawing/2014/main" val="2016017479"/>
                    </a:ext>
                  </a:extLst>
                </a:gridCol>
                <a:gridCol w="279967">
                  <a:extLst>
                    <a:ext uri="{9D8B030D-6E8A-4147-A177-3AD203B41FA5}">
                      <a16:colId xmlns:a16="http://schemas.microsoft.com/office/drawing/2014/main" val="4124320707"/>
                    </a:ext>
                  </a:extLst>
                </a:gridCol>
                <a:gridCol w="279967">
                  <a:extLst>
                    <a:ext uri="{9D8B030D-6E8A-4147-A177-3AD203B41FA5}">
                      <a16:colId xmlns:a16="http://schemas.microsoft.com/office/drawing/2014/main" val="3468070112"/>
                    </a:ext>
                  </a:extLst>
                </a:gridCol>
              </a:tblGrid>
              <a:tr h="439200">
                <a:tc>
                  <a:txBody>
                    <a:bodyPr/>
                    <a:lstStyle/>
                    <a:p>
                      <a:pPr algn="r" fontAlgn="b"/>
                      <a:endParaRPr lang="cs-CZ" sz="500" b="0" i="0" u="none" strike="noStrike" dirty="0">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D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1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0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D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8696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A817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B5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FD8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extLst>
                  <a:ext uri="{0D108BD9-81ED-4DB2-BD59-A6C34878D82A}">
                    <a16:rowId xmlns:a16="http://schemas.microsoft.com/office/drawing/2014/main" val="2857369416"/>
                  </a:ext>
                </a:extLst>
              </a:tr>
              <a:tr h="439200">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F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D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7E8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9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7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8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F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B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DCA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1877271585"/>
                  </a:ext>
                </a:extLst>
              </a:tr>
              <a:tr h="439200">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FC6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4DE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1979180296"/>
                  </a:ext>
                </a:extLst>
              </a:tr>
              <a:tr h="439200">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BB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C0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5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B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F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1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B6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1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6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1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extLst>
                  <a:ext uri="{0D108BD9-81ED-4DB2-BD59-A6C34878D82A}">
                    <a16:rowId xmlns:a16="http://schemas.microsoft.com/office/drawing/2014/main" val="1012626150"/>
                  </a:ext>
                </a:extLst>
              </a:tr>
              <a:tr h="439200">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8D6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A9D2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4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3783006774"/>
                  </a:ext>
                </a:extLst>
              </a:tr>
              <a:tr h="439200">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C5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8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DDC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2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extLst>
                  <a:ext uri="{0D108BD9-81ED-4DB2-BD59-A6C34878D82A}">
                    <a16:rowId xmlns:a16="http://schemas.microsoft.com/office/drawing/2014/main" val="867526266"/>
                  </a:ext>
                </a:extLst>
              </a:tr>
              <a:tr h="439200">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6C8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8C4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6C8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8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6DA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619731283"/>
                  </a:ext>
                </a:extLst>
              </a:tr>
              <a:tr h="439200">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4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FC6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1C2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43080908"/>
                  </a:ext>
                </a:extLst>
              </a:tr>
              <a:tr h="439200">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A2D0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DDC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1C2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2655101594"/>
                  </a:ext>
                </a:extLst>
              </a:tr>
              <a:tr h="439200">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4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D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dirty="0">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1268686661"/>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4" name="Tabulka 3">
            <a:extLst>
              <a:ext uri="{FF2B5EF4-FFF2-40B4-BE49-F238E27FC236}">
                <a16:creationId xmlns:a16="http://schemas.microsoft.com/office/drawing/2014/main" id="{9E53E701-4BF5-436E-A8AB-E672109A0D3F}"/>
              </a:ext>
            </a:extLst>
          </p:cNvPr>
          <p:cNvGraphicFramePr>
            <a:graphicFrameLocks noGrp="1"/>
          </p:cNvGraphicFramePr>
          <p:nvPr>
            <p:extLst>
              <p:ext uri="{D42A27DB-BD31-4B8C-83A1-F6EECF244321}">
                <p14:modId xmlns:p14="http://schemas.microsoft.com/office/powerpoint/2010/main" val="1677583569"/>
              </p:ext>
            </p:extLst>
          </p:nvPr>
        </p:nvGraphicFramePr>
        <p:xfrm>
          <a:off x="76200" y="972446"/>
          <a:ext cx="12017832" cy="5283455"/>
        </p:xfrm>
        <a:graphic>
          <a:graphicData uri="http://schemas.openxmlformats.org/drawingml/2006/table">
            <a:tbl>
              <a:tblPr/>
              <a:tblGrid>
                <a:gridCol w="827992">
                  <a:extLst>
                    <a:ext uri="{9D8B030D-6E8A-4147-A177-3AD203B41FA5}">
                      <a16:colId xmlns:a16="http://schemas.microsoft.com/office/drawing/2014/main" val="1968442572"/>
                    </a:ext>
                  </a:extLst>
                </a:gridCol>
                <a:gridCol w="279746">
                  <a:extLst>
                    <a:ext uri="{9D8B030D-6E8A-4147-A177-3AD203B41FA5}">
                      <a16:colId xmlns:a16="http://schemas.microsoft.com/office/drawing/2014/main" val="2324785515"/>
                    </a:ext>
                  </a:extLst>
                </a:gridCol>
                <a:gridCol w="279746">
                  <a:extLst>
                    <a:ext uri="{9D8B030D-6E8A-4147-A177-3AD203B41FA5}">
                      <a16:colId xmlns:a16="http://schemas.microsoft.com/office/drawing/2014/main" val="2316397216"/>
                    </a:ext>
                  </a:extLst>
                </a:gridCol>
                <a:gridCol w="279746">
                  <a:extLst>
                    <a:ext uri="{9D8B030D-6E8A-4147-A177-3AD203B41FA5}">
                      <a16:colId xmlns:a16="http://schemas.microsoft.com/office/drawing/2014/main" val="2421285267"/>
                    </a:ext>
                  </a:extLst>
                </a:gridCol>
                <a:gridCol w="279746">
                  <a:extLst>
                    <a:ext uri="{9D8B030D-6E8A-4147-A177-3AD203B41FA5}">
                      <a16:colId xmlns:a16="http://schemas.microsoft.com/office/drawing/2014/main" val="2021945755"/>
                    </a:ext>
                  </a:extLst>
                </a:gridCol>
                <a:gridCol w="279746">
                  <a:extLst>
                    <a:ext uri="{9D8B030D-6E8A-4147-A177-3AD203B41FA5}">
                      <a16:colId xmlns:a16="http://schemas.microsoft.com/office/drawing/2014/main" val="1750378381"/>
                    </a:ext>
                  </a:extLst>
                </a:gridCol>
                <a:gridCol w="279746">
                  <a:extLst>
                    <a:ext uri="{9D8B030D-6E8A-4147-A177-3AD203B41FA5}">
                      <a16:colId xmlns:a16="http://schemas.microsoft.com/office/drawing/2014/main" val="2017837716"/>
                    </a:ext>
                  </a:extLst>
                </a:gridCol>
                <a:gridCol w="279746">
                  <a:extLst>
                    <a:ext uri="{9D8B030D-6E8A-4147-A177-3AD203B41FA5}">
                      <a16:colId xmlns:a16="http://schemas.microsoft.com/office/drawing/2014/main" val="1404693994"/>
                    </a:ext>
                  </a:extLst>
                </a:gridCol>
                <a:gridCol w="279746">
                  <a:extLst>
                    <a:ext uri="{9D8B030D-6E8A-4147-A177-3AD203B41FA5}">
                      <a16:colId xmlns:a16="http://schemas.microsoft.com/office/drawing/2014/main" val="504398723"/>
                    </a:ext>
                  </a:extLst>
                </a:gridCol>
                <a:gridCol w="279746">
                  <a:extLst>
                    <a:ext uri="{9D8B030D-6E8A-4147-A177-3AD203B41FA5}">
                      <a16:colId xmlns:a16="http://schemas.microsoft.com/office/drawing/2014/main" val="3651637464"/>
                    </a:ext>
                  </a:extLst>
                </a:gridCol>
                <a:gridCol w="279746">
                  <a:extLst>
                    <a:ext uri="{9D8B030D-6E8A-4147-A177-3AD203B41FA5}">
                      <a16:colId xmlns:a16="http://schemas.microsoft.com/office/drawing/2014/main" val="2865222597"/>
                    </a:ext>
                  </a:extLst>
                </a:gridCol>
                <a:gridCol w="279746">
                  <a:extLst>
                    <a:ext uri="{9D8B030D-6E8A-4147-A177-3AD203B41FA5}">
                      <a16:colId xmlns:a16="http://schemas.microsoft.com/office/drawing/2014/main" val="2489746829"/>
                    </a:ext>
                  </a:extLst>
                </a:gridCol>
                <a:gridCol w="279746">
                  <a:extLst>
                    <a:ext uri="{9D8B030D-6E8A-4147-A177-3AD203B41FA5}">
                      <a16:colId xmlns:a16="http://schemas.microsoft.com/office/drawing/2014/main" val="1541623946"/>
                    </a:ext>
                  </a:extLst>
                </a:gridCol>
                <a:gridCol w="279746">
                  <a:extLst>
                    <a:ext uri="{9D8B030D-6E8A-4147-A177-3AD203B41FA5}">
                      <a16:colId xmlns:a16="http://schemas.microsoft.com/office/drawing/2014/main" val="2054650609"/>
                    </a:ext>
                  </a:extLst>
                </a:gridCol>
                <a:gridCol w="279746">
                  <a:extLst>
                    <a:ext uri="{9D8B030D-6E8A-4147-A177-3AD203B41FA5}">
                      <a16:colId xmlns:a16="http://schemas.microsoft.com/office/drawing/2014/main" val="545881822"/>
                    </a:ext>
                  </a:extLst>
                </a:gridCol>
                <a:gridCol w="279746">
                  <a:extLst>
                    <a:ext uri="{9D8B030D-6E8A-4147-A177-3AD203B41FA5}">
                      <a16:colId xmlns:a16="http://schemas.microsoft.com/office/drawing/2014/main" val="2042242354"/>
                    </a:ext>
                  </a:extLst>
                </a:gridCol>
                <a:gridCol w="279746">
                  <a:extLst>
                    <a:ext uri="{9D8B030D-6E8A-4147-A177-3AD203B41FA5}">
                      <a16:colId xmlns:a16="http://schemas.microsoft.com/office/drawing/2014/main" val="2627216144"/>
                    </a:ext>
                  </a:extLst>
                </a:gridCol>
                <a:gridCol w="279746">
                  <a:extLst>
                    <a:ext uri="{9D8B030D-6E8A-4147-A177-3AD203B41FA5}">
                      <a16:colId xmlns:a16="http://schemas.microsoft.com/office/drawing/2014/main" val="3892471603"/>
                    </a:ext>
                  </a:extLst>
                </a:gridCol>
                <a:gridCol w="279746">
                  <a:extLst>
                    <a:ext uri="{9D8B030D-6E8A-4147-A177-3AD203B41FA5}">
                      <a16:colId xmlns:a16="http://schemas.microsoft.com/office/drawing/2014/main" val="3178166612"/>
                    </a:ext>
                  </a:extLst>
                </a:gridCol>
                <a:gridCol w="279746">
                  <a:extLst>
                    <a:ext uri="{9D8B030D-6E8A-4147-A177-3AD203B41FA5}">
                      <a16:colId xmlns:a16="http://schemas.microsoft.com/office/drawing/2014/main" val="3929259680"/>
                    </a:ext>
                  </a:extLst>
                </a:gridCol>
                <a:gridCol w="279746">
                  <a:extLst>
                    <a:ext uri="{9D8B030D-6E8A-4147-A177-3AD203B41FA5}">
                      <a16:colId xmlns:a16="http://schemas.microsoft.com/office/drawing/2014/main" val="1030716042"/>
                    </a:ext>
                  </a:extLst>
                </a:gridCol>
                <a:gridCol w="279746">
                  <a:extLst>
                    <a:ext uri="{9D8B030D-6E8A-4147-A177-3AD203B41FA5}">
                      <a16:colId xmlns:a16="http://schemas.microsoft.com/office/drawing/2014/main" val="2007004427"/>
                    </a:ext>
                  </a:extLst>
                </a:gridCol>
                <a:gridCol w="279746">
                  <a:extLst>
                    <a:ext uri="{9D8B030D-6E8A-4147-A177-3AD203B41FA5}">
                      <a16:colId xmlns:a16="http://schemas.microsoft.com/office/drawing/2014/main" val="4197416111"/>
                    </a:ext>
                  </a:extLst>
                </a:gridCol>
                <a:gridCol w="279746">
                  <a:extLst>
                    <a:ext uri="{9D8B030D-6E8A-4147-A177-3AD203B41FA5}">
                      <a16:colId xmlns:a16="http://schemas.microsoft.com/office/drawing/2014/main" val="2249337792"/>
                    </a:ext>
                  </a:extLst>
                </a:gridCol>
                <a:gridCol w="279746">
                  <a:extLst>
                    <a:ext uri="{9D8B030D-6E8A-4147-A177-3AD203B41FA5}">
                      <a16:colId xmlns:a16="http://schemas.microsoft.com/office/drawing/2014/main" val="871823467"/>
                    </a:ext>
                  </a:extLst>
                </a:gridCol>
                <a:gridCol w="279746">
                  <a:extLst>
                    <a:ext uri="{9D8B030D-6E8A-4147-A177-3AD203B41FA5}">
                      <a16:colId xmlns:a16="http://schemas.microsoft.com/office/drawing/2014/main" val="1043957100"/>
                    </a:ext>
                  </a:extLst>
                </a:gridCol>
                <a:gridCol w="279746">
                  <a:extLst>
                    <a:ext uri="{9D8B030D-6E8A-4147-A177-3AD203B41FA5}">
                      <a16:colId xmlns:a16="http://schemas.microsoft.com/office/drawing/2014/main" val="2048734900"/>
                    </a:ext>
                  </a:extLst>
                </a:gridCol>
                <a:gridCol w="279746">
                  <a:extLst>
                    <a:ext uri="{9D8B030D-6E8A-4147-A177-3AD203B41FA5}">
                      <a16:colId xmlns:a16="http://schemas.microsoft.com/office/drawing/2014/main" val="3480902212"/>
                    </a:ext>
                  </a:extLst>
                </a:gridCol>
                <a:gridCol w="279746">
                  <a:extLst>
                    <a:ext uri="{9D8B030D-6E8A-4147-A177-3AD203B41FA5}">
                      <a16:colId xmlns:a16="http://schemas.microsoft.com/office/drawing/2014/main" val="3586384141"/>
                    </a:ext>
                  </a:extLst>
                </a:gridCol>
                <a:gridCol w="279746">
                  <a:extLst>
                    <a:ext uri="{9D8B030D-6E8A-4147-A177-3AD203B41FA5}">
                      <a16:colId xmlns:a16="http://schemas.microsoft.com/office/drawing/2014/main" val="1366794809"/>
                    </a:ext>
                  </a:extLst>
                </a:gridCol>
                <a:gridCol w="279746">
                  <a:extLst>
                    <a:ext uri="{9D8B030D-6E8A-4147-A177-3AD203B41FA5}">
                      <a16:colId xmlns:a16="http://schemas.microsoft.com/office/drawing/2014/main" val="472154995"/>
                    </a:ext>
                  </a:extLst>
                </a:gridCol>
                <a:gridCol w="279746">
                  <a:extLst>
                    <a:ext uri="{9D8B030D-6E8A-4147-A177-3AD203B41FA5}">
                      <a16:colId xmlns:a16="http://schemas.microsoft.com/office/drawing/2014/main" val="928621840"/>
                    </a:ext>
                  </a:extLst>
                </a:gridCol>
                <a:gridCol w="279746">
                  <a:extLst>
                    <a:ext uri="{9D8B030D-6E8A-4147-A177-3AD203B41FA5}">
                      <a16:colId xmlns:a16="http://schemas.microsoft.com/office/drawing/2014/main" val="1306132585"/>
                    </a:ext>
                  </a:extLst>
                </a:gridCol>
                <a:gridCol w="279746">
                  <a:extLst>
                    <a:ext uri="{9D8B030D-6E8A-4147-A177-3AD203B41FA5}">
                      <a16:colId xmlns:a16="http://schemas.microsoft.com/office/drawing/2014/main" val="2269806797"/>
                    </a:ext>
                  </a:extLst>
                </a:gridCol>
                <a:gridCol w="279746">
                  <a:extLst>
                    <a:ext uri="{9D8B030D-6E8A-4147-A177-3AD203B41FA5}">
                      <a16:colId xmlns:a16="http://schemas.microsoft.com/office/drawing/2014/main" val="3368934660"/>
                    </a:ext>
                  </a:extLst>
                </a:gridCol>
                <a:gridCol w="279746">
                  <a:extLst>
                    <a:ext uri="{9D8B030D-6E8A-4147-A177-3AD203B41FA5}">
                      <a16:colId xmlns:a16="http://schemas.microsoft.com/office/drawing/2014/main" val="1808156178"/>
                    </a:ext>
                  </a:extLst>
                </a:gridCol>
                <a:gridCol w="279746">
                  <a:extLst>
                    <a:ext uri="{9D8B030D-6E8A-4147-A177-3AD203B41FA5}">
                      <a16:colId xmlns:a16="http://schemas.microsoft.com/office/drawing/2014/main" val="690438806"/>
                    </a:ext>
                  </a:extLst>
                </a:gridCol>
                <a:gridCol w="279746">
                  <a:extLst>
                    <a:ext uri="{9D8B030D-6E8A-4147-A177-3AD203B41FA5}">
                      <a16:colId xmlns:a16="http://schemas.microsoft.com/office/drawing/2014/main" val="2090726901"/>
                    </a:ext>
                  </a:extLst>
                </a:gridCol>
                <a:gridCol w="279746">
                  <a:extLst>
                    <a:ext uri="{9D8B030D-6E8A-4147-A177-3AD203B41FA5}">
                      <a16:colId xmlns:a16="http://schemas.microsoft.com/office/drawing/2014/main" val="566725807"/>
                    </a:ext>
                  </a:extLst>
                </a:gridCol>
                <a:gridCol w="279746">
                  <a:extLst>
                    <a:ext uri="{9D8B030D-6E8A-4147-A177-3AD203B41FA5}">
                      <a16:colId xmlns:a16="http://schemas.microsoft.com/office/drawing/2014/main" val="3537451877"/>
                    </a:ext>
                  </a:extLst>
                </a:gridCol>
                <a:gridCol w="279746">
                  <a:extLst>
                    <a:ext uri="{9D8B030D-6E8A-4147-A177-3AD203B41FA5}">
                      <a16:colId xmlns:a16="http://schemas.microsoft.com/office/drawing/2014/main" val="1850676438"/>
                    </a:ext>
                  </a:extLst>
                </a:gridCol>
              </a:tblGrid>
              <a:tr h="56092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5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4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9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4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7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7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7 (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0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6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6 (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9 (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3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32 (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70 (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5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5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2 (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8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1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2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6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9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3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6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61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0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4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1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1 (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2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8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2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1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7 (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8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5 (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5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3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7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1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2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4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3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1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37423">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4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348300">
                <a:tc>
                  <a:txBody>
                    <a:bodyPr/>
                    <a:lstStyle/>
                    <a:p>
                      <a:pPr algn="l" fontAlgn="ct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0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2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65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89</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11093767"/>
                  </a:ext>
                </a:extLst>
              </a:tr>
            </a:tbl>
          </a:graphicData>
        </a:graphic>
      </p:graphicFrame>
      <p:cxnSp>
        <p:nvCxnSpPr>
          <p:cNvPr id="21" name="Přímá spojnice se šipkou 20">
            <a:extLst>
              <a:ext uri="{FF2B5EF4-FFF2-40B4-BE49-F238E27FC236}">
                <a16:creationId xmlns:a16="http://schemas.microsoft.com/office/drawing/2014/main" id="{55CCCB53-3983-4952-A12A-9B899074C73F}"/>
              </a:ext>
            </a:extLst>
          </p:cNvPr>
          <p:cNvCxnSpPr>
            <a:cxnSpLocks/>
          </p:cNvCxnSpPr>
          <p:nvPr/>
        </p:nvCxnSpPr>
        <p:spPr>
          <a:xfrm>
            <a:off x="265542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7818D010-4F27-4285-AAC6-24C030A6E9CC}"/>
              </a:ext>
            </a:extLst>
          </p:cNvPr>
          <p:cNvCxnSpPr>
            <a:cxnSpLocks/>
          </p:cNvCxnSpPr>
          <p:nvPr/>
        </p:nvCxnSpPr>
        <p:spPr>
          <a:xfrm flipV="1">
            <a:off x="408169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Přímá spojnice se šipkou 22">
            <a:extLst>
              <a:ext uri="{FF2B5EF4-FFF2-40B4-BE49-F238E27FC236}">
                <a16:creationId xmlns:a16="http://schemas.microsoft.com/office/drawing/2014/main" id="{92984DDC-E41B-4C3B-B3E5-3D4A344DB899}"/>
              </a:ext>
            </a:extLst>
          </p:cNvPr>
          <p:cNvCxnSpPr>
            <a:cxnSpLocks/>
          </p:cNvCxnSpPr>
          <p:nvPr/>
        </p:nvCxnSpPr>
        <p:spPr>
          <a:xfrm flipV="1">
            <a:off x="459922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D69FA970-7822-430C-93B3-92D31F2ED0BD}"/>
              </a:ext>
            </a:extLst>
          </p:cNvPr>
          <p:cNvCxnSpPr>
            <a:cxnSpLocks/>
          </p:cNvCxnSpPr>
          <p:nvPr/>
        </p:nvCxnSpPr>
        <p:spPr>
          <a:xfrm flipV="1">
            <a:off x="4916436"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ovéPole 15">
            <a:extLst>
              <a:ext uri="{FF2B5EF4-FFF2-40B4-BE49-F238E27FC236}">
                <a16:creationId xmlns:a16="http://schemas.microsoft.com/office/drawing/2014/main" id="{1C523CA6-A004-4A4D-B038-E40C19DEF2DF}"/>
              </a:ext>
            </a:extLst>
          </p:cNvPr>
          <p:cNvSpPr txBox="1"/>
          <p:nvPr/>
        </p:nvSpPr>
        <p:spPr>
          <a:xfrm>
            <a:off x="2949304"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a:t>
            </a:r>
          </a:p>
        </p:txBody>
      </p:sp>
      <p:grpSp>
        <p:nvGrpSpPr>
          <p:cNvPr id="18" name="Skupina 17">
            <a:extLst>
              <a:ext uri="{FF2B5EF4-FFF2-40B4-BE49-F238E27FC236}">
                <a16:creationId xmlns:a16="http://schemas.microsoft.com/office/drawing/2014/main" id="{84F10A06-C4DD-4292-8150-04FAD16D9B6A}"/>
              </a:ext>
            </a:extLst>
          </p:cNvPr>
          <p:cNvGrpSpPr/>
          <p:nvPr/>
        </p:nvGrpSpPr>
        <p:grpSpPr>
          <a:xfrm>
            <a:off x="802195" y="6327251"/>
            <a:ext cx="2143122" cy="173463"/>
            <a:chOff x="733425" y="6443990"/>
            <a:chExt cx="2143122" cy="173463"/>
          </a:xfrm>
        </p:grpSpPr>
        <p:sp>
          <p:nvSpPr>
            <p:cNvPr id="19" name="TextovéPole 18">
              <a:extLst>
                <a:ext uri="{FF2B5EF4-FFF2-40B4-BE49-F238E27FC236}">
                  <a16:creationId xmlns:a16="http://schemas.microsoft.com/office/drawing/2014/main" id="{617D4CD1-7755-44C8-A7EE-135A5D585AFF}"/>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20" name="Obrázek 19">
              <a:extLst>
                <a:ext uri="{FF2B5EF4-FFF2-40B4-BE49-F238E27FC236}">
                  <a16:creationId xmlns:a16="http://schemas.microsoft.com/office/drawing/2014/main" id="{A484CB03-955A-47C5-8CE7-9B392E8C8FA1}"/>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5" name="TextovéPole 24">
            <a:extLst>
              <a:ext uri="{FF2B5EF4-FFF2-40B4-BE49-F238E27FC236}">
                <a16:creationId xmlns:a16="http://schemas.microsoft.com/office/drawing/2014/main" id="{623140BD-1E7C-4121-ACAF-4E5D56B91EF9}"/>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5CD8AD87-C146-4E94-8FC3-E79F2525DCD7}"/>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9C9ABF26-1985-4E13-A00F-0504C2D53437}"/>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6E6E98AC-E933-4CAF-8BBA-44933239B313}"/>
              </a:ext>
            </a:extLst>
          </p:cNvPr>
          <p:cNvCxnSpPr>
            <a:cxnSpLocks/>
          </p:cNvCxnSpPr>
          <p:nvPr/>
        </p:nvCxnSpPr>
        <p:spPr>
          <a:xfrm>
            <a:off x="5466170"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Přímá spojnice se šipkou 28">
            <a:extLst>
              <a:ext uri="{FF2B5EF4-FFF2-40B4-BE49-F238E27FC236}">
                <a16:creationId xmlns:a16="http://schemas.microsoft.com/office/drawing/2014/main" id="{3FE34D95-4679-419E-BFF0-B4F911ED1DE0}"/>
              </a:ext>
            </a:extLst>
          </p:cNvPr>
          <p:cNvCxnSpPr>
            <a:cxnSpLocks/>
          </p:cNvCxnSpPr>
          <p:nvPr/>
        </p:nvCxnSpPr>
        <p:spPr>
          <a:xfrm>
            <a:off x="826450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Obdélník 2">
            <a:extLst>
              <a:ext uri="{FF2B5EF4-FFF2-40B4-BE49-F238E27FC236}">
                <a16:creationId xmlns:a16="http://schemas.microsoft.com/office/drawing/2014/main" id="{6F3E3041-EC6E-4FB8-A980-423224A0D0A9}"/>
              </a:ext>
            </a:extLst>
          </p:cNvPr>
          <p:cNvSpPr/>
          <p:nvPr/>
        </p:nvSpPr>
        <p:spPr>
          <a:xfrm>
            <a:off x="22481" y="530444"/>
            <a:ext cx="1349921" cy="461665"/>
          </a:xfrm>
          <a:prstGeom prst="rect">
            <a:avLst/>
          </a:prstGeom>
        </p:spPr>
        <p:txBody>
          <a:bodyPr wrap="none">
            <a:spAutoFit/>
          </a:bodyPr>
          <a:lstStyle/>
          <a:p>
            <a:pPr lvl="0" fontAlgn="ctr">
              <a:defRPr/>
            </a:pPr>
            <a:r>
              <a:rPr lang="cs-CZ" sz="1200" b="1" dirty="0">
                <a:latin typeface="Calibri" panose="020F0502020204030204" pitchFamily="34" charset="0"/>
              </a:rPr>
              <a:t>Počet nakažených </a:t>
            </a:r>
          </a:p>
          <a:p>
            <a:pPr lvl="0" fontAlgn="ctr">
              <a:defRPr/>
            </a:pPr>
            <a:r>
              <a:rPr lang="cs-CZ" sz="1200" b="1" dirty="0">
                <a:latin typeface="Calibri" panose="020F0502020204030204" pitchFamily="34" charset="0"/>
              </a:rPr>
              <a:t>(počet ohnisek)</a:t>
            </a:r>
          </a:p>
        </p:txBody>
      </p:sp>
      <p:cxnSp>
        <p:nvCxnSpPr>
          <p:cNvPr id="30" name="Přímá spojnice se šipkou 29">
            <a:extLst>
              <a:ext uri="{FF2B5EF4-FFF2-40B4-BE49-F238E27FC236}">
                <a16:creationId xmlns:a16="http://schemas.microsoft.com/office/drawing/2014/main" id="{3DBCFEFF-4D50-4979-B241-ECB64F6D18C1}"/>
              </a:ext>
            </a:extLst>
          </p:cNvPr>
          <p:cNvCxnSpPr>
            <a:cxnSpLocks/>
          </p:cNvCxnSpPr>
          <p:nvPr/>
        </p:nvCxnSpPr>
        <p:spPr>
          <a:xfrm flipV="1">
            <a:off x="9945636"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8677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B3C63C56-C654-4EBD-98AC-C86BC1D20E6E}"/>
              </a:ext>
            </a:extLst>
          </p:cNvPr>
          <p:cNvGraphicFramePr>
            <a:graphicFrameLocks noGrp="1"/>
          </p:cNvGraphicFramePr>
          <p:nvPr>
            <p:extLst>
              <p:ext uri="{D42A27DB-BD31-4B8C-83A1-F6EECF244321}">
                <p14:modId xmlns:p14="http://schemas.microsoft.com/office/powerpoint/2010/main" val="1174082606"/>
              </p:ext>
            </p:extLst>
          </p:nvPr>
        </p:nvGraphicFramePr>
        <p:xfrm>
          <a:off x="900516" y="1532076"/>
          <a:ext cx="11193480" cy="4723829"/>
        </p:xfrm>
        <a:graphic>
          <a:graphicData uri="http://schemas.openxmlformats.org/drawingml/2006/table">
            <a:tbl>
              <a:tblPr/>
              <a:tblGrid>
                <a:gridCol w="279837">
                  <a:extLst>
                    <a:ext uri="{9D8B030D-6E8A-4147-A177-3AD203B41FA5}">
                      <a16:colId xmlns:a16="http://schemas.microsoft.com/office/drawing/2014/main" val="3004618470"/>
                    </a:ext>
                  </a:extLst>
                </a:gridCol>
                <a:gridCol w="279837">
                  <a:extLst>
                    <a:ext uri="{9D8B030D-6E8A-4147-A177-3AD203B41FA5}">
                      <a16:colId xmlns:a16="http://schemas.microsoft.com/office/drawing/2014/main" val="3137674333"/>
                    </a:ext>
                  </a:extLst>
                </a:gridCol>
                <a:gridCol w="279837">
                  <a:extLst>
                    <a:ext uri="{9D8B030D-6E8A-4147-A177-3AD203B41FA5}">
                      <a16:colId xmlns:a16="http://schemas.microsoft.com/office/drawing/2014/main" val="2909509952"/>
                    </a:ext>
                  </a:extLst>
                </a:gridCol>
                <a:gridCol w="279837">
                  <a:extLst>
                    <a:ext uri="{9D8B030D-6E8A-4147-A177-3AD203B41FA5}">
                      <a16:colId xmlns:a16="http://schemas.microsoft.com/office/drawing/2014/main" val="4269245408"/>
                    </a:ext>
                  </a:extLst>
                </a:gridCol>
                <a:gridCol w="279837">
                  <a:extLst>
                    <a:ext uri="{9D8B030D-6E8A-4147-A177-3AD203B41FA5}">
                      <a16:colId xmlns:a16="http://schemas.microsoft.com/office/drawing/2014/main" val="1818281726"/>
                    </a:ext>
                  </a:extLst>
                </a:gridCol>
                <a:gridCol w="279837">
                  <a:extLst>
                    <a:ext uri="{9D8B030D-6E8A-4147-A177-3AD203B41FA5}">
                      <a16:colId xmlns:a16="http://schemas.microsoft.com/office/drawing/2014/main" val="1282321098"/>
                    </a:ext>
                  </a:extLst>
                </a:gridCol>
                <a:gridCol w="279837">
                  <a:extLst>
                    <a:ext uri="{9D8B030D-6E8A-4147-A177-3AD203B41FA5}">
                      <a16:colId xmlns:a16="http://schemas.microsoft.com/office/drawing/2014/main" val="122013032"/>
                    </a:ext>
                  </a:extLst>
                </a:gridCol>
                <a:gridCol w="279837">
                  <a:extLst>
                    <a:ext uri="{9D8B030D-6E8A-4147-A177-3AD203B41FA5}">
                      <a16:colId xmlns:a16="http://schemas.microsoft.com/office/drawing/2014/main" val="518524227"/>
                    </a:ext>
                  </a:extLst>
                </a:gridCol>
                <a:gridCol w="279837">
                  <a:extLst>
                    <a:ext uri="{9D8B030D-6E8A-4147-A177-3AD203B41FA5}">
                      <a16:colId xmlns:a16="http://schemas.microsoft.com/office/drawing/2014/main" val="3563144299"/>
                    </a:ext>
                  </a:extLst>
                </a:gridCol>
                <a:gridCol w="279837">
                  <a:extLst>
                    <a:ext uri="{9D8B030D-6E8A-4147-A177-3AD203B41FA5}">
                      <a16:colId xmlns:a16="http://schemas.microsoft.com/office/drawing/2014/main" val="3469543357"/>
                    </a:ext>
                  </a:extLst>
                </a:gridCol>
                <a:gridCol w="279837">
                  <a:extLst>
                    <a:ext uri="{9D8B030D-6E8A-4147-A177-3AD203B41FA5}">
                      <a16:colId xmlns:a16="http://schemas.microsoft.com/office/drawing/2014/main" val="16776152"/>
                    </a:ext>
                  </a:extLst>
                </a:gridCol>
                <a:gridCol w="279837">
                  <a:extLst>
                    <a:ext uri="{9D8B030D-6E8A-4147-A177-3AD203B41FA5}">
                      <a16:colId xmlns:a16="http://schemas.microsoft.com/office/drawing/2014/main" val="2450289202"/>
                    </a:ext>
                  </a:extLst>
                </a:gridCol>
                <a:gridCol w="279837">
                  <a:extLst>
                    <a:ext uri="{9D8B030D-6E8A-4147-A177-3AD203B41FA5}">
                      <a16:colId xmlns:a16="http://schemas.microsoft.com/office/drawing/2014/main" val="716264628"/>
                    </a:ext>
                  </a:extLst>
                </a:gridCol>
                <a:gridCol w="279837">
                  <a:extLst>
                    <a:ext uri="{9D8B030D-6E8A-4147-A177-3AD203B41FA5}">
                      <a16:colId xmlns:a16="http://schemas.microsoft.com/office/drawing/2014/main" val="3125168211"/>
                    </a:ext>
                  </a:extLst>
                </a:gridCol>
                <a:gridCol w="279837">
                  <a:extLst>
                    <a:ext uri="{9D8B030D-6E8A-4147-A177-3AD203B41FA5}">
                      <a16:colId xmlns:a16="http://schemas.microsoft.com/office/drawing/2014/main" val="2230079855"/>
                    </a:ext>
                  </a:extLst>
                </a:gridCol>
                <a:gridCol w="279837">
                  <a:extLst>
                    <a:ext uri="{9D8B030D-6E8A-4147-A177-3AD203B41FA5}">
                      <a16:colId xmlns:a16="http://schemas.microsoft.com/office/drawing/2014/main" val="610624562"/>
                    </a:ext>
                  </a:extLst>
                </a:gridCol>
                <a:gridCol w="279837">
                  <a:extLst>
                    <a:ext uri="{9D8B030D-6E8A-4147-A177-3AD203B41FA5}">
                      <a16:colId xmlns:a16="http://schemas.microsoft.com/office/drawing/2014/main" val="3828074726"/>
                    </a:ext>
                  </a:extLst>
                </a:gridCol>
                <a:gridCol w="279837">
                  <a:extLst>
                    <a:ext uri="{9D8B030D-6E8A-4147-A177-3AD203B41FA5}">
                      <a16:colId xmlns:a16="http://schemas.microsoft.com/office/drawing/2014/main" val="3724520309"/>
                    </a:ext>
                  </a:extLst>
                </a:gridCol>
                <a:gridCol w="279837">
                  <a:extLst>
                    <a:ext uri="{9D8B030D-6E8A-4147-A177-3AD203B41FA5}">
                      <a16:colId xmlns:a16="http://schemas.microsoft.com/office/drawing/2014/main" val="1904748439"/>
                    </a:ext>
                  </a:extLst>
                </a:gridCol>
                <a:gridCol w="279837">
                  <a:extLst>
                    <a:ext uri="{9D8B030D-6E8A-4147-A177-3AD203B41FA5}">
                      <a16:colId xmlns:a16="http://schemas.microsoft.com/office/drawing/2014/main" val="3414294594"/>
                    </a:ext>
                  </a:extLst>
                </a:gridCol>
                <a:gridCol w="279837">
                  <a:extLst>
                    <a:ext uri="{9D8B030D-6E8A-4147-A177-3AD203B41FA5}">
                      <a16:colId xmlns:a16="http://schemas.microsoft.com/office/drawing/2014/main" val="2084689448"/>
                    </a:ext>
                  </a:extLst>
                </a:gridCol>
                <a:gridCol w="279837">
                  <a:extLst>
                    <a:ext uri="{9D8B030D-6E8A-4147-A177-3AD203B41FA5}">
                      <a16:colId xmlns:a16="http://schemas.microsoft.com/office/drawing/2014/main" val="2731799967"/>
                    </a:ext>
                  </a:extLst>
                </a:gridCol>
                <a:gridCol w="279837">
                  <a:extLst>
                    <a:ext uri="{9D8B030D-6E8A-4147-A177-3AD203B41FA5}">
                      <a16:colId xmlns:a16="http://schemas.microsoft.com/office/drawing/2014/main" val="8574695"/>
                    </a:ext>
                  </a:extLst>
                </a:gridCol>
                <a:gridCol w="279837">
                  <a:extLst>
                    <a:ext uri="{9D8B030D-6E8A-4147-A177-3AD203B41FA5}">
                      <a16:colId xmlns:a16="http://schemas.microsoft.com/office/drawing/2014/main" val="2064284871"/>
                    </a:ext>
                  </a:extLst>
                </a:gridCol>
                <a:gridCol w="279837">
                  <a:extLst>
                    <a:ext uri="{9D8B030D-6E8A-4147-A177-3AD203B41FA5}">
                      <a16:colId xmlns:a16="http://schemas.microsoft.com/office/drawing/2014/main" val="4284412425"/>
                    </a:ext>
                  </a:extLst>
                </a:gridCol>
                <a:gridCol w="279837">
                  <a:extLst>
                    <a:ext uri="{9D8B030D-6E8A-4147-A177-3AD203B41FA5}">
                      <a16:colId xmlns:a16="http://schemas.microsoft.com/office/drawing/2014/main" val="1913228192"/>
                    </a:ext>
                  </a:extLst>
                </a:gridCol>
                <a:gridCol w="279837">
                  <a:extLst>
                    <a:ext uri="{9D8B030D-6E8A-4147-A177-3AD203B41FA5}">
                      <a16:colId xmlns:a16="http://schemas.microsoft.com/office/drawing/2014/main" val="2555176082"/>
                    </a:ext>
                  </a:extLst>
                </a:gridCol>
                <a:gridCol w="279837">
                  <a:extLst>
                    <a:ext uri="{9D8B030D-6E8A-4147-A177-3AD203B41FA5}">
                      <a16:colId xmlns:a16="http://schemas.microsoft.com/office/drawing/2014/main" val="372917922"/>
                    </a:ext>
                  </a:extLst>
                </a:gridCol>
                <a:gridCol w="279837">
                  <a:extLst>
                    <a:ext uri="{9D8B030D-6E8A-4147-A177-3AD203B41FA5}">
                      <a16:colId xmlns:a16="http://schemas.microsoft.com/office/drawing/2014/main" val="687946531"/>
                    </a:ext>
                  </a:extLst>
                </a:gridCol>
                <a:gridCol w="279837">
                  <a:extLst>
                    <a:ext uri="{9D8B030D-6E8A-4147-A177-3AD203B41FA5}">
                      <a16:colId xmlns:a16="http://schemas.microsoft.com/office/drawing/2014/main" val="521960268"/>
                    </a:ext>
                  </a:extLst>
                </a:gridCol>
                <a:gridCol w="279837">
                  <a:extLst>
                    <a:ext uri="{9D8B030D-6E8A-4147-A177-3AD203B41FA5}">
                      <a16:colId xmlns:a16="http://schemas.microsoft.com/office/drawing/2014/main" val="3346105693"/>
                    </a:ext>
                  </a:extLst>
                </a:gridCol>
                <a:gridCol w="279837">
                  <a:extLst>
                    <a:ext uri="{9D8B030D-6E8A-4147-A177-3AD203B41FA5}">
                      <a16:colId xmlns:a16="http://schemas.microsoft.com/office/drawing/2014/main" val="2240883916"/>
                    </a:ext>
                  </a:extLst>
                </a:gridCol>
                <a:gridCol w="279837">
                  <a:extLst>
                    <a:ext uri="{9D8B030D-6E8A-4147-A177-3AD203B41FA5}">
                      <a16:colId xmlns:a16="http://schemas.microsoft.com/office/drawing/2014/main" val="2865950886"/>
                    </a:ext>
                  </a:extLst>
                </a:gridCol>
                <a:gridCol w="279837">
                  <a:extLst>
                    <a:ext uri="{9D8B030D-6E8A-4147-A177-3AD203B41FA5}">
                      <a16:colId xmlns:a16="http://schemas.microsoft.com/office/drawing/2014/main" val="1896110986"/>
                    </a:ext>
                  </a:extLst>
                </a:gridCol>
                <a:gridCol w="279837">
                  <a:extLst>
                    <a:ext uri="{9D8B030D-6E8A-4147-A177-3AD203B41FA5}">
                      <a16:colId xmlns:a16="http://schemas.microsoft.com/office/drawing/2014/main" val="2853619549"/>
                    </a:ext>
                  </a:extLst>
                </a:gridCol>
                <a:gridCol w="279837">
                  <a:extLst>
                    <a:ext uri="{9D8B030D-6E8A-4147-A177-3AD203B41FA5}">
                      <a16:colId xmlns:a16="http://schemas.microsoft.com/office/drawing/2014/main" val="876775874"/>
                    </a:ext>
                  </a:extLst>
                </a:gridCol>
                <a:gridCol w="279837">
                  <a:extLst>
                    <a:ext uri="{9D8B030D-6E8A-4147-A177-3AD203B41FA5}">
                      <a16:colId xmlns:a16="http://schemas.microsoft.com/office/drawing/2014/main" val="3796901998"/>
                    </a:ext>
                  </a:extLst>
                </a:gridCol>
                <a:gridCol w="279837">
                  <a:extLst>
                    <a:ext uri="{9D8B030D-6E8A-4147-A177-3AD203B41FA5}">
                      <a16:colId xmlns:a16="http://schemas.microsoft.com/office/drawing/2014/main" val="1684050106"/>
                    </a:ext>
                  </a:extLst>
                </a:gridCol>
                <a:gridCol w="279837">
                  <a:extLst>
                    <a:ext uri="{9D8B030D-6E8A-4147-A177-3AD203B41FA5}">
                      <a16:colId xmlns:a16="http://schemas.microsoft.com/office/drawing/2014/main" val="1346296941"/>
                    </a:ext>
                  </a:extLst>
                </a:gridCol>
                <a:gridCol w="279837">
                  <a:extLst>
                    <a:ext uri="{9D8B030D-6E8A-4147-A177-3AD203B41FA5}">
                      <a16:colId xmlns:a16="http://schemas.microsoft.com/office/drawing/2014/main" val="3982493660"/>
                    </a:ext>
                  </a:extLst>
                </a:gridCol>
              </a:tblGrid>
              <a:tr h="429439">
                <a:tc>
                  <a:txBody>
                    <a:bodyPr/>
                    <a:lstStyle/>
                    <a:p>
                      <a:pPr algn="r" fontAlgn="b"/>
                      <a:endParaRPr lang="cs-CZ" sz="500" b="0" i="0" u="none" strike="noStrike" dirty="0">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E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1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5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1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ADD3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7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E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D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1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D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B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9E9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6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DE6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F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9DB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5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extLst>
                  <a:ext uri="{0D108BD9-81ED-4DB2-BD59-A6C34878D82A}">
                    <a16:rowId xmlns:a16="http://schemas.microsoft.com/office/drawing/2014/main" val="2845599407"/>
                  </a:ext>
                </a:extLst>
              </a:tr>
              <a:tr h="429439">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F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A7D1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E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D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A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8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ADD3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D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A477"/>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7E8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A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D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D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9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5C3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5C3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A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ADD3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9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CCA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43178758"/>
                  </a:ext>
                </a:extLst>
              </a:tr>
              <a:tr h="429439">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0C2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AB78"/>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8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1315803709"/>
                  </a:ext>
                </a:extLst>
              </a:tr>
              <a:tr h="429439">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5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B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F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C6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5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D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9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6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6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4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3E3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F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9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5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CD780"/>
                    </a:solidFill>
                  </a:tcPr>
                </a:tc>
                <a:extLst>
                  <a:ext uri="{0D108BD9-81ED-4DB2-BD59-A6C34878D82A}">
                    <a16:rowId xmlns:a16="http://schemas.microsoft.com/office/drawing/2014/main" val="28734981"/>
                  </a:ext>
                </a:extLst>
              </a:tr>
              <a:tr h="429439">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BF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7E8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3573415278"/>
                  </a:ext>
                </a:extLst>
              </a:tr>
              <a:tr h="429439">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6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7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8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6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B079"/>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FE282"/>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CDC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A276"/>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1E282"/>
                    </a:solidFill>
                  </a:tcPr>
                </a:tc>
                <a:extLst>
                  <a:ext uri="{0D108BD9-81ED-4DB2-BD59-A6C34878D82A}">
                    <a16:rowId xmlns:a16="http://schemas.microsoft.com/office/drawing/2014/main" val="4097455792"/>
                  </a:ext>
                </a:extLst>
              </a:tr>
              <a:tr h="429439">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7E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A8D2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B3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BF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6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B57A"/>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3452075029"/>
                  </a:ext>
                </a:extLst>
              </a:tr>
              <a:tr h="429439">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F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6D6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762893760"/>
                  </a:ext>
                </a:extLst>
              </a:tr>
              <a:tr h="429439">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DC6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8696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B3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CD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2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CB079"/>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3638462837"/>
                  </a:ext>
                </a:extLst>
              </a:tr>
              <a:tr h="429439">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A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B937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2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2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tcPr>
                </a:tc>
                <a:extLst>
                  <a:ext uri="{0D108BD9-81ED-4DB2-BD59-A6C34878D82A}">
                    <a16:rowId xmlns:a16="http://schemas.microsoft.com/office/drawing/2014/main" val="1226023587"/>
                  </a:ext>
                </a:extLst>
              </a:tr>
              <a:tr h="429439">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D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B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1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AE9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A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9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2E7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3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8F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93CB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C9DB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D8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BE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E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4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FFEA84"/>
                    </a:solidFill>
                  </a:tcPr>
                </a:tc>
                <a:tc>
                  <a:txBody>
                    <a:bodyPr/>
                    <a:lstStyle/>
                    <a:p>
                      <a:pPr algn="r" fontAlgn="b"/>
                      <a:endParaRPr lang="cs-CZ" sz="500" b="0" i="0" u="none" strike="noStrike" dirty="0">
                        <a:solidFill>
                          <a:srgbClr val="000000"/>
                        </a:solidFill>
                        <a:effectLst/>
                        <a:latin typeface="Calibri" panose="020F0502020204030204" pitchFamily="34" charset="0"/>
                      </a:endParaRPr>
                    </a:p>
                  </a:txBody>
                  <a:tcPr marL="4108" marR="4108" marT="4108" marB="0" anchor="b">
                    <a:lnL>
                      <a:noFill/>
                    </a:lnL>
                    <a:lnR>
                      <a:noFill/>
                    </a:lnR>
                    <a:lnT>
                      <a:noFill/>
                    </a:lnT>
                    <a:lnB>
                      <a:noFill/>
                    </a:lnB>
                    <a:solidFill>
                      <a:srgbClr val="E9E482"/>
                    </a:solidFill>
                  </a:tcPr>
                </a:tc>
                <a:extLst>
                  <a:ext uri="{0D108BD9-81ED-4DB2-BD59-A6C34878D82A}">
                    <a16:rowId xmlns:a16="http://schemas.microsoft.com/office/drawing/2014/main" val="1244879539"/>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TextovéPole 10">
            <a:extLst>
              <a:ext uri="{FF2B5EF4-FFF2-40B4-BE49-F238E27FC236}">
                <a16:creationId xmlns:a16="http://schemas.microsoft.com/office/drawing/2014/main" id="{A155B57A-5927-4EC5-AAC0-02E61FDF2817}"/>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pSp>
        <p:nvGrpSpPr>
          <p:cNvPr id="16" name="Skupina 15">
            <a:extLst>
              <a:ext uri="{FF2B5EF4-FFF2-40B4-BE49-F238E27FC236}">
                <a16:creationId xmlns:a16="http://schemas.microsoft.com/office/drawing/2014/main" id="{E0172640-3E62-4165-AB43-D4FAF4FBC1F5}"/>
              </a:ext>
            </a:extLst>
          </p:cNvPr>
          <p:cNvGrpSpPr/>
          <p:nvPr/>
        </p:nvGrpSpPr>
        <p:grpSpPr>
          <a:xfrm>
            <a:off x="400539" y="6327251"/>
            <a:ext cx="2143122" cy="173463"/>
            <a:chOff x="733425" y="6443990"/>
            <a:chExt cx="2143122" cy="173463"/>
          </a:xfrm>
        </p:grpSpPr>
        <p:sp>
          <p:nvSpPr>
            <p:cNvPr id="18" name="TextovéPole 17">
              <a:extLst>
                <a:ext uri="{FF2B5EF4-FFF2-40B4-BE49-F238E27FC236}">
                  <a16:creationId xmlns:a16="http://schemas.microsoft.com/office/drawing/2014/main" id="{13000642-99EF-4436-AB6E-F899CB59D7C8}"/>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9" name="Obrázek 18">
              <a:extLst>
                <a:ext uri="{FF2B5EF4-FFF2-40B4-BE49-F238E27FC236}">
                  <a16:creationId xmlns:a16="http://schemas.microsoft.com/office/drawing/2014/main" id="{5E8F6B6E-CE70-44BC-A745-CC5E57D1FBCB}"/>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4" name="TextovéPole 23">
            <a:extLst>
              <a:ext uri="{FF2B5EF4-FFF2-40B4-BE49-F238E27FC236}">
                <a16:creationId xmlns:a16="http://schemas.microsoft.com/office/drawing/2014/main" id="{403CBD4A-396E-4821-AD0E-AAC6CE605A79}"/>
              </a:ext>
            </a:extLst>
          </p:cNvPr>
          <p:cNvSpPr txBox="1"/>
          <p:nvPr/>
        </p:nvSpPr>
        <p:spPr>
          <a:xfrm>
            <a:off x="2547648"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 na ohnisko</a:t>
            </a:r>
          </a:p>
        </p:txBody>
      </p:sp>
      <p:sp>
        <p:nvSpPr>
          <p:cNvPr id="25" name="TextovéPole 24">
            <a:extLst>
              <a:ext uri="{FF2B5EF4-FFF2-40B4-BE49-F238E27FC236}">
                <a16:creationId xmlns:a16="http://schemas.microsoft.com/office/drawing/2014/main" id="{4BAD4D43-B250-4E04-987B-3BE61AAFF487}"/>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07C56AF4-60F0-4714-B6D6-ADDF1E3C270C}"/>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E6667892-8B53-44DF-8B43-39AF16342A49}"/>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Obdélník 42">
            <a:extLst>
              <a:ext uri="{FF2B5EF4-FFF2-40B4-BE49-F238E27FC236}">
                <a16:creationId xmlns:a16="http://schemas.microsoft.com/office/drawing/2014/main" id="{DC0CE7A8-E713-468E-BE39-AB56333BA875}"/>
              </a:ext>
            </a:extLst>
          </p:cNvPr>
          <p:cNvSpPr/>
          <p:nvPr/>
        </p:nvSpPr>
        <p:spPr>
          <a:xfrm>
            <a:off x="22480" y="539969"/>
            <a:ext cx="2239243" cy="461665"/>
          </a:xfrm>
          <a:prstGeom prst="rect">
            <a:avLst/>
          </a:prstGeom>
        </p:spPr>
        <p:txBody>
          <a:bodyPr wrap="square">
            <a:spAutoFit/>
          </a:bodyPr>
          <a:lstStyle/>
          <a:p>
            <a:pPr lvl="0" fontAlgn="ctr">
              <a:defRPr/>
            </a:pPr>
            <a:r>
              <a:rPr lang="cs-CZ" sz="1200" b="1" dirty="0">
                <a:latin typeface="Calibri" panose="020F0502020204030204" pitchFamily="34" charset="0"/>
              </a:rPr>
              <a:t>Počet nakažených na ohnisko </a:t>
            </a:r>
          </a:p>
          <a:p>
            <a:pPr lvl="0" fontAlgn="ctr">
              <a:defRPr/>
            </a:pPr>
            <a:r>
              <a:rPr lang="cs-CZ" sz="1200" b="1" dirty="0">
                <a:latin typeface="Calibri" panose="020F0502020204030204" pitchFamily="34" charset="0"/>
              </a:rPr>
              <a:t>(počet ohnisek)</a:t>
            </a:r>
          </a:p>
        </p:txBody>
      </p:sp>
      <p:graphicFrame>
        <p:nvGraphicFramePr>
          <p:cNvPr id="23" name="Tabulka 22">
            <a:extLst>
              <a:ext uri="{FF2B5EF4-FFF2-40B4-BE49-F238E27FC236}">
                <a16:creationId xmlns:a16="http://schemas.microsoft.com/office/drawing/2014/main" id="{82E713A4-5446-46A6-B7CD-A0A6D536C9CE}"/>
              </a:ext>
            </a:extLst>
          </p:cNvPr>
          <p:cNvGraphicFramePr>
            <a:graphicFrameLocks noGrp="1"/>
          </p:cNvGraphicFramePr>
          <p:nvPr>
            <p:extLst>
              <p:ext uri="{D42A27DB-BD31-4B8C-83A1-F6EECF244321}">
                <p14:modId xmlns:p14="http://schemas.microsoft.com/office/powerpoint/2010/main" val="3481534362"/>
              </p:ext>
            </p:extLst>
          </p:nvPr>
        </p:nvGraphicFramePr>
        <p:xfrm>
          <a:off x="76200" y="972446"/>
          <a:ext cx="12017832" cy="5283456"/>
        </p:xfrm>
        <a:graphic>
          <a:graphicData uri="http://schemas.openxmlformats.org/drawingml/2006/table">
            <a:tbl>
              <a:tblPr/>
              <a:tblGrid>
                <a:gridCol w="827992">
                  <a:extLst>
                    <a:ext uri="{9D8B030D-6E8A-4147-A177-3AD203B41FA5}">
                      <a16:colId xmlns:a16="http://schemas.microsoft.com/office/drawing/2014/main" val="1968442572"/>
                    </a:ext>
                  </a:extLst>
                </a:gridCol>
                <a:gridCol w="279746">
                  <a:extLst>
                    <a:ext uri="{9D8B030D-6E8A-4147-A177-3AD203B41FA5}">
                      <a16:colId xmlns:a16="http://schemas.microsoft.com/office/drawing/2014/main" val="2324785515"/>
                    </a:ext>
                  </a:extLst>
                </a:gridCol>
                <a:gridCol w="279746">
                  <a:extLst>
                    <a:ext uri="{9D8B030D-6E8A-4147-A177-3AD203B41FA5}">
                      <a16:colId xmlns:a16="http://schemas.microsoft.com/office/drawing/2014/main" val="2316397216"/>
                    </a:ext>
                  </a:extLst>
                </a:gridCol>
                <a:gridCol w="279746">
                  <a:extLst>
                    <a:ext uri="{9D8B030D-6E8A-4147-A177-3AD203B41FA5}">
                      <a16:colId xmlns:a16="http://schemas.microsoft.com/office/drawing/2014/main" val="2421285267"/>
                    </a:ext>
                  </a:extLst>
                </a:gridCol>
                <a:gridCol w="279746">
                  <a:extLst>
                    <a:ext uri="{9D8B030D-6E8A-4147-A177-3AD203B41FA5}">
                      <a16:colId xmlns:a16="http://schemas.microsoft.com/office/drawing/2014/main" val="2021945755"/>
                    </a:ext>
                  </a:extLst>
                </a:gridCol>
                <a:gridCol w="279746">
                  <a:extLst>
                    <a:ext uri="{9D8B030D-6E8A-4147-A177-3AD203B41FA5}">
                      <a16:colId xmlns:a16="http://schemas.microsoft.com/office/drawing/2014/main" val="1750378381"/>
                    </a:ext>
                  </a:extLst>
                </a:gridCol>
                <a:gridCol w="279746">
                  <a:extLst>
                    <a:ext uri="{9D8B030D-6E8A-4147-A177-3AD203B41FA5}">
                      <a16:colId xmlns:a16="http://schemas.microsoft.com/office/drawing/2014/main" val="2017837716"/>
                    </a:ext>
                  </a:extLst>
                </a:gridCol>
                <a:gridCol w="279746">
                  <a:extLst>
                    <a:ext uri="{9D8B030D-6E8A-4147-A177-3AD203B41FA5}">
                      <a16:colId xmlns:a16="http://schemas.microsoft.com/office/drawing/2014/main" val="1404693994"/>
                    </a:ext>
                  </a:extLst>
                </a:gridCol>
                <a:gridCol w="279746">
                  <a:extLst>
                    <a:ext uri="{9D8B030D-6E8A-4147-A177-3AD203B41FA5}">
                      <a16:colId xmlns:a16="http://schemas.microsoft.com/office/drawing/2014/main" val="504398723"/>
                    </a:ext>
                  </a:extLst>
                </a:gridCol>
                <a:gridCol w="279746">
                  <a:extLst>
                    <a:ext uri="{9D8B030D-6E8A-4147-A177-3AD203B41FA5}">
                      <a16:colId xmlns:a16="http://schemas.microsoft.com/office/drawing/2014/main" val="3651637464"/>
                    </a:ext>
                  </a:extLst>
                </a:gridCol>
                <a:gridCol w="279746">
                  <a:extLst>
                    <a:ext uri="{9D8B030D-6E8A-4147-A177-3AD203B41FA5}">
                      <a16:colId xmlns:a16="http://schemas.microsoft.com/office/drawing/2014/main" val="2865222597"/>
                    </a:ext>
                  </a:extLst>
                </a:gridCol>
                <a:gridCol w="279746">
                  <a:extLst>
                    <a:ext uri="{9D8B030D-6E8A-4147-A177-3AD203B41FA5}">
                      <a16:colId xmlns:a16="http://schemas.microsoft.com/office/drawing/2014/main" val="2489746829"/>
                    </a:ext>
                  </a:extLst>
                </a:gridCol>
                <a:gridCol w="279746">
                  <a:extLst>
                    <a:ext uri="{9D8B030D-6E8A-4147-A177-3AD203B41FA5}">
                      <a16:colId xmlns:a16="http://schemas.microsoft.com/office/drawing/2014/main" val="1541623946"/>
                    </a:ext>
                  </a:extLst>
                </a:gridCol>
                <a:gridCol w="279746">
                  <a:extLst>
                    <a:ext uri="{9D8B030D-6E8A-4147-A177-3AD203B41FA5}">
                      <a16:colId xmlns:a16="http://schemas.microsoft.com/office/drawing/2014/main" val="2054650609"/>
                    </a:ext>
                  </a:extLst>
                </a:gridCol>
                <a:gridCol w="279746">
                  <a:extLst>
                    <a:ext uri="{9D8B030D-6E8A-4147-A177-3AD203B41FA5}">
                      <a16:colId xmlns:a16="http://schemas.microsoft.com/office/drawing/2014/main" val="545881822"/>
                    </a:ext>
                  </a:extLst>
                </a:gridCol>
                <a:gridCol w="279746">
                  <a:extLst>
                    <a:ext uri="{9D8B030D-6E8A-4147-A177-3AD203B41FA5}">
                      <a16:colId xmlns:a16="http://schemas.microsoft.com/office/drawing/2014/main" val="2042242354"/>
                    </a:ext>
                  </a:extLst>
                </a:gridCol>
                <a:gridCol w="279746">
                  <a:extLst>
                    <a:ext uri="{9D8B030D-6E8A-4147-A177-3AD203B41FA5}">
                      <a16:colId xmlns:a16="http://schemas.microsoft.com/office/drawing/2014/main" val="2627216144"/>
                    </a:ext>
                  </a:extLst>
                </a:gridCol>
                <a:gridCol w="279746">
                  <a:extLst>
                    <a:ext uri="{9D8B030D-6E8A-4147-A177-3AD203B41FA5}">
                      <a16:colId xmlns:a16="http://schemas.microsoft.com/office/drawing/2014/main" val="3892471603"/>
                    </a:ext>
                  </a:extLst>
                </a:gridCol>
                <a:gridCol w="279746">
                  <a:extLst>
                    <a:ext uri="{9D8B030D-6E8A-4147-A177-3AD203B41FA5}">
                      <a16:colId xmlns:a16="http://schemas.microsoft.com/office/drawing/2014/main" val="3178166612"/>
                    </a:ext>
                  </a:extLst>
                </a:gridCol>
                <a:gridCol w="279746">
                  <a:extLst>
                    <a:ext uri="{9D8B030D-6E8A-4147-A177-3AD203B41FA5}">
                      <a16:colId xmlns:a16="http://schemas.microsoft.com/office/drawing/2014/main" val="3929259680"/>
                    </a:ext>
                  </a:extLst>
                </a:gridCol>
                <a:gridCol w="279746">
                  <a:extLst>
                    <a:ext uri="{9D8B030D-6E8A-4147-A177-3AD203B41FA5}">
                      <a16:colId xmlns:a16="http://schemas.microsoft.com/office/drawing/2014/main" val="1030716042"/>
                    </a:ext>
                  </a:extLst>
                </a:gridCol>
                <a:gridCol w="279746">
                  <a:extLst>
                    <a:ext uri="{9D8B030D-6E8A-4147-A177-3AD203B41FA5}">
                      <a16:colId xmlns:a16="http://schemas.microsoft.com/office/drawing/2014/main" val="2007004427"/>
                    </a:ext>
                  </a:extLst>
                </a:gridCol>
                <a:gridCol w="279746">
                  <a:extLst>
                    <a:ext uri="{9D8B030D-6E8A-4147-A177-3AD203B41FA5}">
                      <a16:colId xmlns:a16="http://schemas.microsoft.com/office/drawing/2014/main" val="4197416111"/>
                    </a:ext>
                  </a:extLst>
                </a:gridCol>
                <a:gridCol w="279746">
                  <a:extLst>
                    <a:ext uri="{9D8B030D-6E8A-4147-A177-3AD203B41FA5}">
                      <a16:colId xmlns:a16="http://schemas.microsoft.com/office/drawing/2014/main" val="2249337792"/>
                    </a:ext>
                  </a:extLst>
                </a:gridCol>
                <a:gridCol w="279746">
                  <a:extLst>
                    <a:ext uri="{9D8B030D-6E8A-4147-A177-3AD203B41FA5}">
                      <a16:colId xmlns:a16="http://schemas.microsoft.com/office/drawing/2014/main" val="871823467"/>
                    </a:ext>
                  </a:extLst>
                </a:gridCol>
                <a:gridCol w="279746">
                  <a:extLst>
                    <a:ext uri="{9D8B030D-6E8A-4147-A177-3AD203B41FA5}">
                      <a16:colId xmlns:a16="http://schemas.microsoft.com/office/drawing/2014/main" val="1043957100"/>
                    </a:ext>
                  </a:extLst>
                </a:gridCol>
                <a:gridCol w="279746">
                  <a:extLst>
                    <a:ext uri="{9D8B030D-6E8A-4147-A177-3AD203B41FA5}">
                      <a16:colId xmlns:a16="http://schemas.microsoft.com/office/drawing/2014/main" val="2048734900"/>
                    </a:ext>
                  </a:extLst>
                </a:gridCol>
                <a:gridCol w="279746">
                  <a:extLst>
                    <a:ext uri="{9D8B030D-6E8A-4147-A177-3AD203B41FA5}">
                      <a16:colId xmlns:a16="http://schemas.microsoft.com/office/drawing/2014/main" val="3480902212"/>
                    </a:ext>
                  </a:extLst>
                </a:gridCol>
                <a:gridCol w="279746">
                  <a:extLst>
                    <a:ext uri="{9D8B030D-6E8A-4147-A177-3AD203B41FA5}">
                      <a16:colId xmlns:a16="http://schemas.microsoft.com/office/drawing/2014/main" val="3586384141"/>
                    </a:ext>
                  </a:extLst>
                </a:gridCol>
                <a:gridCol w="279746">
                  <a:extLst>
                    <a:ext uri="{9D8B030D-6E8A-4147-A177-3AD203B41FA5}">
                      <a16:colId xmlns:a16="http://schemas.microsoft.com/office/drawing/2014/main" val="1366794809"/>
                    </a:ext>
                  </a:extLst>
                </a:gridCol>
                <a:gridCol w="279746">
                  <a:extLst>
                    <a:ext uri="{9D8B030D-6E8A-4147-A177-3AD203B41FA5}">
                      <a16:colId xmlns:a16="http://schemas.microsoft.com/office/drawing/2014/main" val="472154995"/>
                    </a:ext>
                  </a:extLst>
                </a:gridCol>
                <a:gridCol w="279746">
                  <a:extLst>
                    <a:ext uri="{9D8B030D-6E8A-4147-A177-3AD203B41FA5}">
                      <a16:colId xmlns:a16="http://schemas.microsoft.com/office/drawing/2014/main" val="928621840"/>
                    </a:ext>
                  </a:extLst>
                </a:gridCol>
                <a:gridCol w="279746">
                  <a:extLst>
                    <a:ext uri="{9D8B030D-6E8A-4147-A177-3AD203B41FA5}">
                      <a16:colId xmlns:a16="http://schemas.microsoft.com/office/drawing/2014/main" val="1306132585"/>
                    </a:ext>
                  </a:extLst>
                </a:gridCol>
                <a:gridCol w="279746">
                  <a:extLst>
                    <a:ext uri="{9D8B030D-6E8A-4147-A177-3AD203B41FA5}">
                      <a16:colId xmlns:a16="http://schemas.microsoft.com/office/drawing/2014/main" val="2269806797"/>
                    </a:ext>
                  </a:extLst>
                </a:gridCol>
                <a:gridCol w="279746">
                  <a:extLst>
                    <a:ext uri="{9D8B030D-6E8A-4147-A177-3AD203B41FA5}">
                      <a16:colId xmlns:a16="http://schemas.microsoft.com/office/drawing/2014/main" val="3368934660"/>
                    </a:ext>
                  </a:extLst>
                </a:gridCol>
                <a:gridCol w="279746">
                  <a:extLst>
                    <a:ext uri="{9D8B030D-6E8A-4147-A177-3AD203B41FA5}">
                      <a16:colId xmlns:a16="http://schemas.microsoft.com/office/drawing/2014/main" val="1808156178"/>
                    </a:ext>
                  </a:extLst>
                </a:gridCol>
                <a:gridCol w="279746">
                  <a:extLst>
                    <a:ext uri="{9D8B030D-6E8A-4147-A177-3AD203B41FA5}">
                      <a16:colId xmlns:a16="http://schemas.microsoft.com/office/drawing/2014/main" val="690438806"/>
                    </a:ext>
                  </a:extLst>
                </a:gridCol>
                <a:gridCol w="279746">
                  <a:extLst>
                    <a:ext uri="{9D8B030D-6E8A-4147-A177-3AD203B41FA5}">
                      <a16:colId xmlns:a16="http://schemas.microsoft.com/office/drawing/2014/main" val="2090726901"/>
                    </a:ext>
                  </a:extLst>
                </a:gridCol>
                <a:gridCol w="279746">
                  <a:extLst>
                    <a:ext uri="{9D8B030D-6E8A-4147-A177-3AD203B41FA5}">
                      <a16:colId xmlns:a16="http://schemas.microsoft.com/office/drawing/2014/main" val="566725807"/>
                    </a:ext>
                  </a:extLst>
                </a:gridCol>
                <a:gridCol w="279746">
                  <a:extLst>
                    <a:ext uri="{9D8B030D-6E8A-4147-A177-3AD203B41FA5}">
                      <a16:colId xmlns:a16="http://schemas.microsoft.com/office/drawing/2014/main" val="3537451877"/>
                    </a:ext>
                  </a:extLst>
                </a:gridCol>
                <a:gridCol w="279746">
                  <a:extLst>
                    <a:ext uri="{9D8B030D-6E8A-4147-A177-3AD203B41FA5}">
                      <a16:colId xmlns:a16="http://schemas.microsoft.com/office/drawing/2014/main" val="1850676438"/>
                    </a:ext>
                  </a:extLst>
                </a:gridCol>
              </a:tblGrid>
              <a:tr h="56092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9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6 (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8 (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3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3 (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5 (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6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6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4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1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6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dirty="0">
                          <a:solidFill>
                            <a:srgbClr val="000000"/>
                          </a:solidFill>
                          <a:effectLst/>
                          <a:latin typeface="Calibri" panose="020F0502020204030204" pitchFamily="34" charset="0"/>
                        </a:rPr>
                        <a:t>6,1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29321">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429321">
                <a:tc>
                  <a:txBody>
                    <a:bodyPr/>
                    <a:lstStyle/>
                    <a:p>
                      <a:pPr algn="l" fontAlgn="ct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dirty="0">
                          <a:solidFill>
                            <a:srgbClr val="000000"/>
                          </a:solidFill>
                          <a:effectLst/>
                          <a:latin typeface="Calibri" panose="020F0502020204030204" pitchFamily="34" charset="0"/>
                        </a:rPr>
                        <a:t>3,4</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093767"/>
                  </a:ext>
                </a:extLst>
              </a:tr>
            </a:tbl>
          </a:graphicData>
        </a:graphic>
      </p:graphicFrame>
      <p:cxnSp>
        <p:nvCxnSpPr>
          <p:cNvPr id="28" name="Přímá spojnice se šipkou 27">
            <a:extLst>
              <a:ext uri="{FF2B5EF4-FFF2-40B4-BE49-F238E27FC236}">
                <a16:creationId xmlns:a16="http://schemas.microsoft.com/office/drawing/2014/main" id="{F429BEE6-F2A6-4626-AFF3-1A588081121F}"/>
              </a:ext>
            </a:extLst>
          </p:cNvPr>
          <p:cNvCxnSpPr>
            <a:cxnSpLocks/>
          </p:cNvCxnSpPr>
          <p:nvPr/>
        </p:nvCxnSpPr>
        <p:spPr>
          <a:xfrm>
            <a:off x="265542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Přímá spojnice se šipkou 33">
            <a:extLst>
              <a:ext uri="{FF2B5EF4-FFF2-40B4-BE49-F238E27FC236}">
                <a16:creationId xmlns:a16="http://schemas.microsoft.com/office/drawing/2014/main" id="{5246A248-437F-479A-9445-8AB5A924C00E}"/>
              </a:ext>
            </a:extLst>
          </p:cNvPr>
          <p:cNvCxnSpPr>
            <a:cxnSpLocks/>
          </p:cNvCxnSpPr>
          <p:nvPr/>
        </p:nvCxnSpPr>
        <p:spPr>
          <a:xfrm flipV="1">
            <a:off x="408169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Přímá spojnice se šipkou 34">
            <a:extLst>
              <a:ext uri="{FF2B5EF4-FFF2-40B4-BE49-F238E27FC236}">
                <a16:creationId xmlns:a16="http://schemas.microsoft.com/office/drawing/2014/main" id="{6C84E82D-25E5-49BA-9E86-3D830B17C8C7}"/>
              </a:ext>
            </a:extLst>
          </p:cNvPr>
          <p:cNvCxnSpPr>
            <a:cxnSpLocks/>
          </p:cNvCxnSpPr>
          <p:nvPr/>
        </p:nvCxnSpPr>
        <p:spPr>
          <a:xfrm flipV="1">
            <a:off x="459922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F720C466-ABDB-4A64-97C6-AC6EEE081EA5}"/>
              </a:ext>
            </a:extLst>
          </p:cNvPr>
          <p:cNvCxnSpPr>
            <a:cxnSpLocks/>
          </p:cNvCxnSpPr>
          <p:nvPr/>
        </p:nvCxnSpPr>
        <p:spPr>
          <a:xfrm flipV="1">
            <a:off x="4916436"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Přímá spojnice se šipkou 36">
            <a:extLst>
              <a:ext uri="{FF2B5EF4-FFF2-40B4-BE49-F238E27FC236}">
                <a16:creationId xmlns:a16="http://schemas.microsoft.com/office/drawing/2014/main" id="{6CD29167-5130-43CF-96F4-09F41E9C6858}"/>
              </a:ext>
            </a:extLst>
          </p:cNvPr>
          <p:cNvCxnSpPr>
            <a:cxnSpLocks/>
          </p:cNvCxnSpPr>
          <p:nvPr/>
        </p:nvCxnSpPr>
        <p:spPr>
          <a:xfrm>
            <a:off x="5466170"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91F9D370-4BB6-4234-A573-AA38858B586A}"/>
              </a:ext>
            </a:extLst>
          </p:cNvPr>
          <p:cNvCxnSpPr>
            <a:cxnSpLocks/>
          </p:cNvCxnSpPr>
          <p:nvPr/>
        </p:nvCxnSpPr>
        <p:spPr>
          <a:xfrm>
            <a:off x="826450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Přímá spojnice se šipkou 41">
            <a:extLst>
              <a:ext uri="{FF2B5EF4-FFF2-40B4-BE49-F238E27FC236}">
                <a16:creationId xmlns:a16="http://schemas.microsoft.com/office/drawing/2014/main" id="{76C34DF5-D053-4754-99A6-929D298F3ED9}"/>
              </a:ext>
            </a:extLst>
          </p:cNvPr>
          <p:cNvCxnSpPr>
            <a:cxnSpLocks/>
          </p:cNvCxnSpPr>
          <p:nvPr/>
        </p:nvCxnSpPr>
        <p:spPr>
          <a:xfrm flipV="1">
            <a:off x="9945636"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3270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E1DD7D8E-4986-4380-B0E7-C6C6031C318A}"/>
              </a:ext>
            </a:extLst>
          </p:cNvPr>
          <p:cNvGraphicFramePr>
            <a:graphicFrameLocks noGrp="1"/>
          </p:cNvGraphicFramePr>
          <p:nvPr>
            <p:extLst>
              <p:ext uri="{D42A27DB-BD31-4B8C-83A1-F6EECF244321}">
                <p14:modId xmlns:p14="http://schemas.microsoft.com/office/powerpoint/2010/main" val="2608495380"/>
              </p:ext>
            </p:extLst>
          </p:nvPr>
        </p:nvGraphicFramePr>
        <p:xfrm>
          <a:off x="1619858" y="1747608"/>
          <a:ext cx="10429552" cy="4085450"/>
        </p:xfrm>
        <a:graphic>
          <a:graphicData uri="http://schemas.openxmlformats.org/drawingml/2006/table">
            <a:tbl>
              <a:tblPr/>
              <a:tblGrid>
                <a:gridCol w="372484">
                  <a:extLst>
                    <a:ext uri="{9D8B030D-6E8A-4147-A177-3AD203B41FA5}">
                      <a16:colId xmlns:a16="http://schemas.microsoft.com/office/drawing/2014/main" val="1291520588"/>
                    </a:ext>
                  </a:extLst>
                </a:gridCol>
                <a:gridCol w="372484">
                  <a:extLst>
                    <a:ext uri="{9D8B030D-6E8A-4147-A177-3AD203B41FA5}">
                      <a16:colId xmlns:a16="http://schemas.microsoft.com/office/drawing/2014/main" val="1375921911"/>
                    </a:ext>
                  </a:extLst>
                </a:gridCol>
                <a:gridCol w="372484">
                  <a:extLst>
                    <a:ext uri="{9D8B030D-6E8A-4147-A177-3AD203B41FA5}">
                      <a16:colId xmlns:a16="http://schemas.microsoft.com/office/drawing/2014/main" val="940463905"/>
                    </a:ext>
                  </a:extLst>
                </a:gridCol>
                <a:gridCol w="372484">
                  <a:extLst>
                    <a:ext uri="{9D8B030D-6E8A-4147-A177-3AD203B41FA5}">
                      <a16:colId xmlns:a16="http://schemas.microsoft.com/office/drawing/2014/main" val="1457997125"/>
                    </a:ext>
                  </a:extLst>
                </a:gridCol>
                <a:gridCol w="372484">
                  <a:extLst>
                    <a:ext uri="{9D8B030D-6E8A-4147-A177-3AD203B41FA5}">
                      <a16:colId xmlns:a16="http://schemas.microsoft.com/office/drawing/2014/main" val="2366602165"/>
                    </a:ext>
                  </a:extLst>
                </a:gridCol>
                <a:gridCol w="372484">
                  <a:extLst>
                    <a:ext uri="{9D8B030D-6E8A-4147-A177-3AD203B41FA5}">
                      <a16:colId xmlns:a16="http://schemas.microsoft.com/office/drawing/2014/main" val="4167705584"/>
                    </a:ext>
                  </a:extLst>
                </a:gridCol>
                <a:gridCol w="372484">
                  <a:extLst>
                    <a:ext uri="{9D8B030D-6E8A-4147-A177-3AD203B41FA5}">
                      <a16:colId xmlns:a16="http://schemas.microsoft.com/office/drawing/2014/main" val="3929178435"/>
                    </a:ext>
                  </a:extLst>
                </a:gridCol>
                <a:gridCol w="372484">
                  <a:extLst>
                    <a:ext uri="{9D8B030D-6E8A-4147-A177-3AD203B41FA5}">
                      <a16:colId xmlns:a16="http://schemas.microsoft.com/office/drawing/2014/main" val="2859738466"/>
                    </a:ext>
                  </a:extLst>
                </a:gridCol>
                <a:gridCol w="372484">
                  <a:extLst>
                    <a:ext uri="{9D8B030D-6E8A-4147-A177-3AD203B41FA5}">
                      <a16:colId xmlns:a16="http://schemas.microsoft.com/office/drawing/2014/main" val="293841365"/>
                    </a:ext>
                  </a:extLst>
                </a:gridCol>
                <a:gridCol w="372484">
                  <a:extLst>
                    <a:ext uri="{9D8B030D-6E8A-4147-A177-3AD203B41FA5}">
                      <a16:colId xmlns:a16="http://schemas.microsoft.com/office/drawing/2014/main" val="1213931238"/>
                    </a:ext>
                  </a:extLst>
                </a:gridCol>
                <a:gridCol w="372484">
                  <a:extLst>
                    <a:ext uri="{9D8B030D-6E8A-4147-A177-3AD203B41FA5}">
                      <a16:colId xmlns:a16="http://schemas.microsoft.com/office/drawing/2014/main" val="2561470364"/>
                    </a:ext>
                  </a:extLst>
                </a:gridCol>
                <a:gridCol w="372484">
                  <a:extLst>
                    <a:ext uri="{9D8B030D-6E8A-4147-A177-3AD203B41FA5}">
                      <a16:colId xmlns:a16="http://schemas.microsoft.com/office/drawing/2014/main" val="475887217"/>
                    </a:ext>
                  </a:extLst>
                </a:gridCol>
                <a:gridCol w="372484">
                  <a:extLst>
                    <a:ext uri="{9D8B030D-6E8A-4147-A177-3AD203B41FA5}">
                      <a16:colId xmlns:a16="http://schemas.microsoft.com/office/drawing/2014/main" val="238997042"/>
                    </a:ext>
                  </a:extLst>
                </a:gridCol>
                <a:gridCol w="372484">
                  <a:extLst>
                    <a:ext uri="{9D8B030D-6E8A-4147-A177-3AD203B41FA5}">
                      <a16:colId xmlns:a16="http://schemas.microsoft.com/office/drawing/2014/main" val="615926225"/>
                    </a:ext>
                  </a:extLst>
                </a:gridCol>
                <a:gridCol w="372484">
                  <a:extLst>
                    <a:ext uri="{9D8B030D-6E8A-4147-A177-3AD203B41FA5}">
                      <a16:colId xmlns:a16="http://schemas.microsoft.com/office/drawing/2014/main" val="3966427648"/>
                    </a:ext>
                  </a:extLst>
                </a:gridCol>
                <a:gridCol w="372484">
                  <a:extLst>
                    <a:ext uri="{9D8B030D-6E8A-4147-A177-3AD203B41FA5}">
                      <a16:colId xmlns:a16="http://schemas.microsoft.com/office/drawing/2014/main" val="821516569"/>
                    </a:ext>
                  </a:extLst>
                </a:gridCol>
                <a:gridCol w="372484">
                  <a:extLst>
                    <a:ext uri="{9D8B030D-6E8A-4147-A177-3AD203B41FA5}">
                      <a16:colId xmlns:a16="http://schemas.microsoft.com/office/drawing/2014/main" val="3132889790"/>
                    </a:ext>
                  </a:extLst>
                </a:gridCol>
                <a:gridCol w="372484">
                  <a:extLst>
                    <a:ext uri="{9D8B030D-6E8A-4147-A177-3AD203B41FA5}">
                      <a16:colId xmlns:a16="http://schemas.microsoft.com/office/drawing/2014/main" val="3222846107"/>
                    </a:ext>
                  </a:extLst>
                </a:gridCol>
                <a:gridCol w="372484">
                  <a:extLst>
                    <a:ext uri="{9D8B030D-6E8A-4147-A177-3AD203B41FA5}">
                      <a16:colId xmlns:a16="http://schemas.microsoft.com/office/drawing/2014/main" val="2522475613"/>
                    </a:ext>
                  </a:extLst>
                </a:gridCol>
                <a:gridCol w="372484">
                  <a:extLst>
                    <a:ext uri="{9D8B030D-6E8A-4147-A177-3AD203B41FA5}">
                      <a16:colId xmlns:a16="http://schemas.microsoft.com/office/drawing/2014/main" val="2912145964"/>
                    </a:ext>
                  </a:extLst>
                </a:gridCol>
                <a:gridCol w="372484">
                  <a:extLst>
                    <a:ext uri="{9D8B030D-6E8A-4147-A177-3AD203B41FA5}">
                      <a16:colId xmlns:a16="http://schemas.microsoft.com/office/drawing/2014/main" val="3604295524"/>
                    </a:ext>
                  </a:extLst>
                </a:gridCol>
                <a:gridCol w="372484">
                  <a:extLst>
                    <a:ext uri="{9D8B030D-6E8A-4147-A177-3AD203B41FA5}">
                      <a16:colId xmlns:a16="http://schemas.microsoft.com/office/drawing/2014/main" val="319444640"/>
                    </a:ext>
                  </a:extLst>
                </a:gridCol>
                <a:gridCol w="372484">
                  <a:extLst>
                    <a:ext uri="{9D8B030D-6E8A-4147-A177-3AD203B41FA5}">
                      <a16:colId xmlns:a16="http://schemas.microsoft.com/office/drawing/2014/main" val="546551174"/>
                    </a:ext>
                  </a:extLst>
                </a:gridCol>
                <a:gridCol w="372484">
                  <a:extLst>
                    <a:ext uri="{9D8B030D-6E8A-4147-A177-3AD203B41FA5}">
                      <a16:colId xmlns:a16="http://schemas.microsoft.com/office/drawing/2014/main" val="3052434787"/>
                    </a:ext>
                  </a:extLst>
                </a:gridCol>
                <a:gridCol w="372484">
                  <a:extLst>
                    <a:ext uri="{9D8B030D-6E8A-4147-A177-3AD203B41FA5}">
                      <a16:colId xmlns:a16="http://schemas.microsoft.com/office/drawing/2014/main" val="3308317412"/>
                    </a:ext>
                  </a:extLst>
                </a:gridCol>
                <a:gridCol w="372484">
                  <a:extLst>
                    <a:ext uri="{9D8B030D-6E8A-4147-A177-3AD203B41FA5}">
                      <a16:colId xmlns:a16="http://schemas.microsoft.com/office/drawing/2014/main" val="1824526200"/>
                    </a:ext>
                  </a:extLst>
                </a:gridCol>
                <a:gridCol w="372484">
                  <a:extLst>
                    <a:ext uri="{9D8B030D-6E8A-4147-A177-3AD203B41FA5}">
                      <a16:colId xmlns:a16="http://schemas.microsoft.com/office/drawing/2014/main" val="1826066456"/>
                    </a:ext>
                  </a:extLst>
                </a:gridCol>
                <a:gridCol w="372484">
                  <a:extLst>
                    <a:ext uri="{9D8B030D-6E8A-4147-A177-3AD203B41FA5}">
                      <a16:colId xmlns:a16="http://schemas.microsoft.com/office/drawing/2014/main" val="1730181094"/>
                    </a:ext>
                  </a:extLst>
                </a:gridCol>
              </a:tblGrid>
              <a:tr h="408545">
                <a:tc>
                  <a:txBody>
                    <a:bodyPr/>
                    <a:lstStyle/>
                    <a:p>
                      <a:pPr algn="ctr" fontAlgn="ctr"/>
                      <a:endParaRPr lang="cs-CZ" sz="700" b="0" i="0"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DBE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CE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8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727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D98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6B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6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extLst>
                  <a:ext uri="{0D108BD9-81ED-4DB2-BD59-A6C34878D82A}">
                    <a16:rowId xmlns:a16="http://schemas.microsoft.com/office/drawing/2014/main" val="4142770273"/>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4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D1D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6E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DB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8D27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5C7"/>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29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BAD78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DADD"/>
                    </a:solidFill>
                  </a:tcPr>
                </a:tc>
                <a:extLst>
                  <a:ext uri="{0D108BD9-81ED-4DB2-BD59-A6C34878D82A}">
                    <a16:rowId xmlns:a16="http://schemas.microsoft.com/office/drawing/2014/main" val="2707424657"/>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2F5"/>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1C6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AD78"/>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DF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A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extLst>
                  <a:ext uri="{0D108BD9-81ED-4DB2-BD59-A6C34878D82A}">
                    <a16:rowId xmlns:a16="http://schemas.microsoft.com/office/drawing/2014/main" val="315769175"/>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3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0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DCD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E9E4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D9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967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C8E"/>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8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FD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6A8"/>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6B9"/>
                    </a:solidFill>
                  </a:tcPr>
                </a:tc>
                <a:extLst>
                  <a:ext uri="{0D108BD9-81ED-4DB2-BD59-A6C34878D82A}">
                    <a16:rowId xmlns:a16="http://schemas.microsoft.com/office/drawing/2014/main" val="1225911506"/>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3C7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DC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E5E3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74C2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8CA"/>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ED07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DFE2"/>
                    </a:solidFill>
                  </a:tcPr>
                </a:tc>
                <a:extLst>
                  <a:ext uri="{0D108BD9-81ED-4DB2-BD59-A6C34878D82A}">
                    <a16:rowId xmlns:a16="http://schemas.microsoft.com/office/drawing/2014/main" val="1238093963"/>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6B6D"/>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B5D57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4E7"/>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3C7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3C5"/>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D7D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extLst>
                  <a:ext uri="{0D108BD9-81ED-4DB2-BD59-A6C34878D82A}">
                    <a16:rowId xmlns:a16="http://schemas.microsoft.com/office/drawing/2014/main" val="1563805896"/>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7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8B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6D17E"/>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3F6"/>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71C2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7A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extLst>
                  <a:ext uri="{0D108BD9-81ED-4DB2-BD59-A6C34878D82A}">
                    <a16:rowId xmlns:a16="http://schemas.microsoft.com/office/drawing/2014/main" val="1673450637"/>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847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E9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5B8"/>
                    </a:solidFill>
                  </a:tcPr>
                </a:tc>
                <a:extLst>
                  <a:ext uri="{0D108BD9-81ED-4DB2-BD59-A6C34878D82A}">
                    <a16:rowId xmlns:a16="http://schemas.microsoft.com/office/drawing/2014/main" val="2913922673"/>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extLst>
                  <a:ext uri="{0D108BD9-81ED-4DB2-BD59-A6C34878D82A}">
                    <a16:rowId xmlns:a16="http://schemas.microsoft.com/office/drawing/2014/main" val="2693025294"/>
                  </a:ext>
                </a:extLst>
              </a:tr>
              <a:tr h="408545">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FD37F"/>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19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082"/>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6E9"/>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182"/>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7B7D"/>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E983"/>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A8C"/>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FC1"/>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CADB80"/>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28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ED881"/>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8AB"/>
                    </a:solidFill>
                  </a:tcPr>
                </a:tc>
                <a:extLst>
                  <a:ext uri="{0D108BD9-81ED-4DB2-BD59-A6C34878D82A}">
                    <a16:rowId xmlns:a16="http://schemas.microsoft.com/office/drawing/2014/main" val="415429467"/>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41413"/>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8" name="Tabulka 7">
            <a:extLst>
              <a:ext uri="{FF2B5EF4-FFF2-40B4-BE49-F238E27FC236}">
                <a16:creationId xmlns:a16="http://schemas.microsoft.com/office/drawing/2014/main" id="{71C8C12D-E8AB-4DB1-B6C5-E223304DEA27}"/>
              </a:ext>
            </a:extLst>
          </p:cNvPr>
          <p:cNvGraphicFramePr>
            <a:graphicFrameLocks noGrp="1"/>
          </p:cNvGraphicFramePr>
          <p:nvPr>
            <p:extLst>
              <p:ext uri="{D42A27DB-BD31-4B8C-83A1-F6EECF244321}">
                <p14:modId xmlns:p14="http://schemas.microsoft.com/office/powerpoint/2010/main" val="3761204763"/>
              </p:ext>
            </p:extLst>
          </p:nvPr>
        </p:nvGraphicFramePr>
        <p:xfrm>
          <a:off x="142572" y="796978"/>
          <a:ext cx="11906842" cy="5036080"/>
        </p:xfrm>
        <a:graphic>
          <a:graphicData uri="http://schemas.openxmlformats.org/drawingml/2006/table">
            <a:tbl>
              <a:tblPr/>
              <a:tblGrid>
                <a:gridCol w="1034549">
                  <a:extLst>
                    <a:ext uri="{9D8B030D-6E8A-4147-A177-3AD203B41FA5}">
                      <a16:colId xmlns:a16="http://schemas.microsoft.com/office/drawing/2014/main" val="1148265902"/>
                    </a:ext>
                  </a:extLst>
                </a:gridCol>
                <a:gridCol w="453269">
                  <a:extLst>
                    <a:ext uri="{9D8B030D-6E8A-4147-A177-3AD203B41FA5}">
                      <a16:colId xmlns:a16="http://schemas.microsoft.com/office/drawing/2014/main" val="3388869861"/>
                    </a:ext>
                  </a:extLst>
                </a:gridCol>
                <a:gridCol w="372108">
                  <a:extLst>
                    <a:ext uri="{9D8B030D-6E8A-4147-A177-3AD203B41FA5}">
                      <a16:colId xmlns:a16="http://schemas.microsoft.com/office/drawing/2014/main" val="4204192688"/>
                    </a:ext>
                  </a:extLst>
                </a:gridCol>
                <a:gridCol w="372108">
                  <a:extLst>
                    <a:ext uri="{9D8B030D-6E8A-4147-A177-3AD203B41FA5}">
                      <a16:colId xmlns:a16="http://schemas.microsoft.com/office/drawing/2014/main" val="2832739057"/>
                    </a:ext>
                  </a:extLst>
                </a:gridCol>
                <a:gridCol w="372108">
                  <a:extLst>
                    <a:ext uri="{9D8B030D-6E8A-4147-A177-3AD203B41FA5}">
                      <a16:colId xmlns:a16="http://schemas.microsoft.com/office/drawing/2014/main" val="2099542548"/>
                    </a:ext>
                  </a:extLst>
                </a:gridCol>
                <a:gridCol w="372108">
                  <a:extLst>
                    <a:ext uri="{9D8B030D-6E8A-4147-A177-3AD203B41FA5}">
                      <a16:colId xmlns:a16="http://schemas.microsoft.com/office/drawing/2014/main" val="478386334"/>
                    </a:ext>
                  </a:extLst>
                </a:gridCol>
                <a:gridCol w="372108">
                  <a:extLst>
                    <a:ext uri="{9D8B030D-6E8A-4147-A177-3AD203B41FA5}">
                      <a16:colId xmlns:a16="http://schemas.microsoft.com/office/drawing/2014/main" val="2917192428"/>
                    </a:ext>
                  </a:extLst>
                </a:gridCol>
                <a:gridCol w="372108">
                  <a:extLst>
                    <a:ext uri="{9D8B030D-6E8A-4147-A177-3AD203B41FA5}">
                      <a16:colId xmlns:a16="http://schemas.microsoft.com/office/drawing/2014/main" val="3396260297"/>
                    </a:ext>
                  </a:extLst>
                </a:gridCol>
                <a:gridCol w="372108">
                  <a:extLst>
                    <a:ext uri="{9D8B030D-6E8A-4147-A177-3AD203B41FA5}">
                      <a16:colId xmlns:a16="http://schemas.microsoft.com/office/drawing/2014/main" val="3029497676"/>
                    </a:ext>
                  </a:extLst>
                </a:gridCol>
                <a:gridCol w="372108">
                  <a:extLst>
                    <a:ext uri="{9D8B030D-6E8A-4147-A177-3AD203B41FA5}">
                      <a16:colId xmlns:a16="http://schemas.microsoft.com/office/drawing/2014/main" val="1800737635"/>
                    </a:ext>
                  </a:extLst>
                </a:gridCol>
                <a:gridCol w="372108">
                  <a:extLst>
                    <a:ext uri="{9D8B030D-6E8A-4147-A177-3AD203B41FA5}">
                      <a16:colId xmlns:a16="http://schemas.microsoft.com/office/drawing/2014/main" val="4196771034"/>
                    </a:ext>
                  </a:extLst>
                </a:gridCol>
                <a:gridCol w="372108">
                  <a:extLst>
                    <a:ext uri="{9D8B030D-6E8A-4147-A177-3AD203B41FA5}">
                      <a16:colId xmlns:a16="http://schemas.microsoft.com/office/drawing/2014/main" val="4058463005"/>
                    </a:ext>
                  </a:extLst>
                </a:gridCol>
                <a:gridCol w="372108">
                  <a:extLst>
                    <a:ext uri="{9D8B030D-6E8A-4147-A177-3AD203B41FA5}">
                      <a16:colId xmlns:a16="http://schemas.microsoft.com/office/drawing/2014/main" val="998449534"/>
                    </a:ext>
                  </a:extLst>
                </a:gridCol>
                <a:gridCol w="372108">
                  <a:extLst>
                    <a:ext uri="{9D8B030D-6E8A-4147-A177-3AD203B41FA5}">
                      <a16:colId xmlns:a16="http://schemas.microsoft.com/office/drawing/2014/main" val="1953591376"/>
                    </a:ext>
                  </a:extLst>
                </a:gridCol>
                <a:gridCol w="372108">
                  <a:extLst>
                    <a:ext uri="{9D8B030D-6E8A-4147-A177-3AD203B41FA5}">
                      <a16:colId xmlns:a16="http://schemas.microsoft.com/office/drawing/2014/main" val="561739286"/>
                    </a:ext>
                  </a:extLst>
                </a:gridCol>
                <a:gridCol w="372108">
                  <a:extLst>
                    <a:ext uri="{9D8B030D-6E8A-4147-A177-3AD203B41FA5}">
                      <a16:colId xmlns:a16="http://schemas.microsoft.com/office/drawing/2014/main" val="1999827090"/>
                    </a:ext>
                  </a:extLst>
                </a:gridCol>
                <a:gridCol w="372108">
                  <a:extLst>
                    <a:ext uri="{9D8B030D-6E8A-4147-A177-3AD203B41FA5}">
                      <a16:colId xmlns:a16="http://schemas.microsoft.com/office/drawing/2014/main" val="317431710"/>
                    </a:ext>
                  </a:extLst>
                </a:gridCol>
                <a:gridCol w="372108">
                  <a:extLst>
                    <a:ext uri="{9D8B030D-6E8A-4147-A177-3AD203B41FA5}">
                      <a16:colId xmlns:a16="http://schemas.microsoft.com/office/drawing/2014/main" val="3188243355"/>
                    </a:ext>
                  </a:extLst>
                </a:gridCol>
                <a:gridCol w="372108">
                  <a:extLst>
                    <a:ext uri="{9D8B030D-6E8A-4147-A177-3AD203B41FA5}">
                      <a16:colId xmlns:a16="http://schemas.microsoft.com/office/drawing/2014/main" val="265230270"/>
                    </a:ext>
                  </a:extLst>
                </a:gridCol>
                <a:gridCol w="372108">
                  <a:extLst>
                    <a:ext uri="{9D8B030D-6E8A-4147-A177-3AD203B41FA5}">
                      <a16:colId xmlns:a16="http://schemas.microsoft.com/office/drawing/2014/main" val="4108293249"/>
                    </a:ext>
                  </a:extLst>
                </a:gridCol>
                <a:gridCol w="372108">
                  <a:extLst>
                    <a:ext uri="{9D8B030D-6E8A-4147-A177-3AD203B41FA5}">
                      <a16:colId xmlns:a16="http://schemas.microsoft.com/office/drawing/2014/main" val="860845491"/>
                    </a:ext>
                  </a:extLst>
                </a:gridCol>
                <a:gridCol w="372108">
                  <a:extLst>
                    <a:ext uri="{9D8B030D-6E8A-4147-A177-3AD203B41FA5}">
                      <a16:colId xmlns:a16="http://schemas.microsoft.com/office/drawing/2014/main" val="1636350511"/>
                    </a:ext>
                  </a:extLst>
                </a:gridCol>
                <a:gridCol w="372108">
                  <a:extLst>
                    <a:ext uri="{9D8B030D-6E8A-4147-A177-3AD203B41FA5}">
                      <a16:colId xmlns:a16="http://schemas.microsoft.com/office/drawing/2014/main" val="3206475092"/>
                    </a:ext>
                  </a:extLst>
                </a:gridCol>
                <a:gridCol w="372108">
                  <a:extLst>
                    <a:ext uri="{9D8B030D-6E8A-4147-A177-3AD203B41FA5}">
                      <a16:colId xmlns:a16="http://schemas.microsoft.com/office/drawing/2014/main" val="1489053538"/>
                    </a:ext>
                  </a:extLst>
                </a:gridCol>
                <a:gridCol w="372108">
                  <a:extLst>
                    <a:ext uri="{9D8B030D-6E8A-4147-A177-3AD203B41FA5}">
                      <a16:colId xmlns:a16="http://schemas.microsoft.com/office/drawing/2014/main" val="1653614131"/>
                    </a:ext>
                  </a:extLst>
                </a:gridCol>
                <a:gridCol w="372108">
                  <a:extLst>
                    <a:ext uri="{9D8B030D-6E8A-4147-A177-3AD203B41FA5}">
                      <a16:colId xmlns:a16="http://schemas.microsoft.com/office/drawing/2014/main" val="2826892121"/>
                    </a:ext>
                  </a:extLst>
                </a:gridCol>
                <a:gridCol w="372108">
                  <a:extLst>
                    <a:ext uri="{9D8B030D-6E8A-4147-A177-3AD203B41FA5}">
                      <a16:colId xmlns:a16="http://schemas.microsoft.com/office/drawing/2014/main" val="3833110577"/>
                    </a:ext>
                  </a:extLst>
                </a:gridCol>
                <a:gridCol w="372108">
                  <a:extLst>
                    <a:ext uri="{9D8B030D-6E8A-4147-A177-3AD203B41FA5}">
                      <a16:colId xmlns:a16="http://schemas.microsoft.com/office/drawing/2014/main" val="3628501650"/>
                    </a:ext>
                  </a:extLst>
                </a:gridCol>
                <a:gridCol w="372108">
                  <a:extLst>
                    <a:ext uri="{9D8B030D-6E8A-4147-A177-3AD203B41FA5}">
                      <a16:colId xmlns:a16="http://schemas.microsoft.com/office/drawing/2014/main" val="2070181009"/>
                    </a:ext>
                  </a:extLst>
                </a:gridCol>
                <a:gridCol w="372108">
                  <a:extLst>
                    <a:ext uri="{9D8B030D-6E8A-4147-A177-3AD203B41FA5}">
                      <a16:colId xmlns:a16="http://schemas.microsoft.com/office/drawing/2014/main" val="1558727568"/>
                    </a:ext>
                  </a:extLst>
                </a:gridCol>
              </a:tblGrid>
              <a:tr h="354191">
                <a:tc>
                  <a:txBody>
                    <a:bodyPr/>
                    <a:lstStyle/>
                    <a:p>
                      <a:pPr algn="l" fontAlgn="b"/>
                      <a:endParaRPr lang="cs-CZ" sz="1100" b="0" i="0" u="none" strike="noStrike" dirty="0">
                        <a:solidFill>
                          <a:srgbClr val="000000"/>
                        </a:solidFill>
                        <a:effectLst/>
                        <a:latin typeface="Calibri" panose="020F0502020204030204" pitchFamily="34" charset="0"/>
                      </a:endParaRPr>
                    </a:p>
                  </a:txBody>
                  <a:tcPr marL="36000" marR="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 9. – 13.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4. 10. – 17.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8. 11. – 29.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30. 11. – 20. 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21. 12. – 2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 3. – 11.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2. 4. – 4.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43929684"/>
                  </a:ext>
                </a:extLst>
              </a:tr>
              <a:tr h="599599">
                <a:tc>
                  <a:txBody>
                    <a:bodyPr/>
                    <a:lstStyle/>
                    <a:p>
                      <a:pPr algn="l" fontAlgn="b"/>
                      <a:r>
                        <a:rPr lang="cs-CZ" sz="1100" b="0" i="0" u="none" strike="noStrike" dirty="0">
                          <a:solidFill>
                            <a:srgbClr val="000000"/>
                          </a:solidFill>
                          <a:effectLst/>
                          <a:latin typeface="Calibri" panose="020F0502020204030204" pitchFamily="34" charset="0"/>
                        </a:rPr>
                        <a:t>Typ školského zařízení</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0" i="1" u="none" strike="noStrike" dirty="0">
                          <a:solidFill>
                            <a:srgbClr val="000000"/>
                          </a:solidFill>
                          <a:effectLst/>
                          <a:latin typeface="Calibri" panose="020F0502020204030204" pitchFamily="34" charset="0"/>
                        </a:rPr>
                        <a:t>Počet zařízení</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 2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 18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6916820"/>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2 0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7158992"/>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6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9962414"/>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1 99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2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2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20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11056856"/>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9830543"/>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98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1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6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80454374"/>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61185226"/>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99153661"/>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1,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0747978"/>
                  </a:ext>
                </a:extLst>
              </a:tr>
              <a:tr h="408229">
                <a:tc>
                  <a:txBody>
                    <a:bodyPr/>
                    <a:lstStyle/>
                    <a:p>
                      <a:pPr algn="l" fontAlgn="ctr">
                        <a:lnSpc>
                          <a:spcPts val="1000"/>
                        </a:lnSpc>
                      </a:pPr>
                      <a:r>
                        <a:rPr lang="cs-CZ" sz="1050" b="1" i="0" u="none" strike="noStrike" dirty="0">
                          <a:solidFill>
                            <a:srgbClr val="000000"/>
                          </a:solidFill>
                          <a:effectLst/>
                          <a:latin typeface="Calibri" panose="020F0502020204030204" pitchFamily="34" charset="0"/>
                        </a:rPr>
                        <a:t>CELKEM</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1" u="none" strike="noStrike">
                          <a:solidFill>
                            <a:srgbClr val="000000"/>
                          </a:solidFill>
                          <a:effectLst/>
                          <a:latin typeface="Calibri" panose="020F0502020204030204" pitchFamily="34" charset="0"/>
                        </a:rPr>
                        <a:t>8 5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Calibri" panose="020F0502020204030204" pitchFamily="34" charset="0"/>
                        </a:rPr>
                        <a:t>5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 73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1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 28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0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8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8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dirty="0">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2656254"/>
                  </a:ext>
                </a:extLst>
              </a:tr>
            </a:tbl>
          </a:graphicData>
        </a:graphic>
      </p:graphicFrame>
      <p:grpSp>
        <p:nvGrpSpPr>
          <p:cNvPr id="11" name="Skupina 10">
            <a:extLst>
              <a:ext uri="{FF2B5EF4-FFF2-40B4-BE49-F238E27FC236}">
                <a16:creationId xmlns:a16="http://schemas.microsoft.com/office/drawing/2014/main" id="{DEDA3E0E-B20A-4EC5-BDC2-6863A93A662D}"/>
              </a:ext>
            </a:extLst>
          </p:cNvPr>
          <p:cNvGrpSpPr/>
          <p:nvPr/>
        </p:nvGrpSpPr>
        <p:grpSpPr>
          <a:xfrm>
            <a:off x="2402469" y="5885983"/>
            <a:ext cx="2143122" cy="173463"/>
            <a:chOff x="733425" y="6443990"/>
            <a:chExt cx="2143122" cy="173463"/>
          </a:xfrm>
        </p:grpSpPr>
        <p:sp>
          <p:nvSpPr>
            <p:cNvPr id="12" name="TextovéPole 11">
              <a:extLst>
                <a:ext uri="{FF2B5EF4-FFF2-40B4-BE49-F238E27FC236}">
                  <a16:creationId xmlns:a16="http://schemas.microsoft.com/office/drawing/2014/main" id="{64255409-BC06-4C47-890D-D0B1BA402A0B}"/>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3" name="Obrázek 12">
              <a:extLst>
                <a:ext uri="{FF2B5EF4-FFF2-40B4-BE49-F238E27FC236}">
                  <a16:creationId xmlns:a16="http://schemas.microsoft.com/office/drawing/2014/main" id="{2E529915-C577-49A0-8CB8-D6FF1D5866F0}"/>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4" name="TextovéPole 13">
            <a:extLst>
              <a:ext uri="{FF2B5EF4-FFF2-40B4-BE49-F238E27FC236}">
                <a16:creationId xmlns:a16="http://schemas.microsoft.com/office/drawing/2014/main" id="{F1F81A17-84E5-4828-AFBC-781828C94FD8}"/>
              </a:ext>
            </a:extLst>
          </p:cNvPr>
          <p:cNvSpPr txBox="1"/>
          <p:nvPr/>
        </p:nvSpPr>
        <p:spPr>
          <a:xfrm>
            <a:off x="4549577" y="5833057"/>
            <a:ext cx="66895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rámci sloupce</a:t>
            </a:r>
          </a:p>
        </p:txBody>
      </p:sp>
      <p:sp>
        <p:nvSpPr>
          <p:cNvPr id="15" name="Obdélník 14">
            <a:extLst>
              <a:ext uri="{FF2B5EF4-FFF2-40B4-BE49-F238E27FC236}">
                <a16:creationId xmlns:a16="http://schemas.microsoft.com/office/drawing/2014/main" id="{8095FFD6-5406-4CB1-B6D5-F6846055EF22}"/>
              </a:ext>
            </a:extLst>
          </p:cNvPr>
          <p:cNvSpPr/>
          <p:nvPr/>
        </p:nvSpPr>
        <p:spPr>
          <a:xfrm>
            <a:off x="204760" y="6070086"/>
            <a:ext cx="11740194" cy="553998"/>
          </a:xfrm>
          <a:prstGeom prst="rect">
            <a:avLst/>
          </a:prstGeom>
        </p:spPr>
        <p:txBody>
          <a:bodyPr wrap="square">
            <a:spAutoFit/>
          </a:bodyPr>
          <a:lstStyle/>
          <a:p>
            <a:r>
              <a:rPr lang="cs-CZ" sz="1000" b="1" i="1" dirty="0"/>
              <a:t>* od 14. 10. 2020 uzavření všech škol (mimo mateřských); od 18. 11. 2020návrat 1. a 2. tříd do škol, otevření speciálních škol a přípravných tříd; </a:t>
            </a:r>
            <a:r>
              <a:rPr lang="cs-CZ" sz="1000" i="1" dirty="0">
                <a:solidFill>
                  <a:srgbClr val="000000"/>
                </a:solidFill>
              </a:rPr>
              <a:t>od 25.11. Návrat studentů posledního ročníku SŠ a VOŠ, vybrané praktické výuky pro VŠ, SŠ, VOŠ; </a:t>
            </a:r>
            <a:r>
              <a:rPr lang="cs-CZ" sz="1000" b="1" i="1" dirty="0">
                <a:solidFill>
                  <a:srgbClr val="000000"/>
                </a:solidFill>
              </a:rPr>
              <a:t>od 30. 11. 2020 návrat zbytku ZŠ, 6. – 8. třídy v rotačním režimu; od 7.12. návrat zbytku ročníků středních škol v rotačním režimu</a:t>
            </a:r>
            <a:r>
              <a:rPr lang="cs-CZ" sz="1000" b="1" i="1" dirty="0"/>
              <a:t>; od 21. 12. 2020 do 3. 1. 2021 vánoční školní prázdniny; od 1. 3. přerušení veškeré prezenční výuky</a:t>
            </a:r>
            <a:r>
              <a:rPr lang="pl-PL" sz="1000" b="1" i="1" dirty="0"/>
              <a:t>; od 12. 4. obnovení prezenční výuky v nižších ročnících ZŠ, rotační režimy </a:t>
            </a:r>
            <a:endParaRPr lang="cs-CZ" sz="1000" b="1" i="1" dirty="0"/>
          </a:p>
        </p:txBody>
      </p:sp>
      <p:grpSp>
        <p:nvGrpSpPr>
          <p:cNvPr id="16" name="Skupina 15">
            <a:extLst>
              <a:ext uri="{FF2B5EF4-FFF2-40B4-BE49-F238E27FC236}">
                <a16:creationId xmlns:a16="http://schemas.microsoft.com/office/drawing/2014/main" id="{5F4F989D-403B-4463-B58A-0C336B7559CD}"/>
              </a:ext>
            </a:extLst>
          </p:cNvPr>
          <p:cNvGrpSpPr/>
          <p:nvPr/>
        </p:nvGrpSpPr>
        <p:grpSpPr>
          <a:xfrm>
            <a:off x="204760" y="5889549"/>
            <a:ext cx="2143122" cy="171474"/>
            <a:chOff x="2185672" y="6586960"/>
            <a:chExt cx="2143122" cy="171474"/>
          </a:xfrm>
        </p:grpSpPr>
        <p:sp>
          <p:nvSpPr>
            <p:cNvPr id="18" name="TextovéPole 17">
              <a:extLst>
                <a:ext uri="{FF2B5EF4-FFF2-40B4-BE49-F238E27FC236}">
                  <a16:creationId xmlns:a16="http://schemas.microsoft.com/office/drawing/2014/main" id="{9E701343-FBCF-40ED-9B7A-E04DC48DE142}"/>
                </a:ext>
              </a:extLst>
            </p:cNvPr>
            <p:cNvSpPr txBox="1"/>
            <p:nvPr/>
          </p:nvSpPr>
          <p:spPr>
            <a:xfrm>
              <a:off x="2185672" y="6586960"/>
              <a:ext cx="2143122" cy="153888"/>
            </a:xfrm>
            <a:prstGeom prst="rect">
              <a:avLst/>
            </a:prstGeom>
            <a:noFill/>
          </p:spPr>
          <p:txBody>
            <a:bodyPr wrap="square" lIns="0" tIns="0" rIns="0" bIns="0" rtlCol="0">
              <a:spAutoFit/>
            </a:bodyPr>
            <a:lstStyle/>
            <a:p>
              <a:pPr algn="ctr"/>
              <a:r>
                <a:rPr lang="cs-CZ" sz="1000" dirty="0"/>
                <a:t>min %                                    max %</a:t>
              </a:r>
            </a:p>
          </p:txBody>
        </p:sp>
        <p:pic>
          <p:nvPicPr>
            <p:cNvPr id="19" name="Obrázek 18">
              <a:extLst>
                <a:ext uri="{FF2B5EF4-FFF2-40B4-BE49-F238E27FC236}">
                  <a16:creationId xmlns:a16="http://schemas.microsoft.com/office/drawing/2014/main" id="{63E8C021-305A-4B1A-95D2-77DF9B58A3AD}"/>
                </a:ext>
              </a:extLst>
            </p:cNvPr>
            <p:cNvPicPr>
              <a:picLocks noChangeAspect="1"/>
            </p:cNvPicPr>
            <p:nvPr/>
          </p:nvPicPr>
          <p:blipFill>
            <a:blip r:embed="rId3"/>
            <a:stretch>
              <a:fillRect/>
            </a:stretch>
          </p:blipFill>
          <p:spPr>
            <a:xfrm>
              <a:off x="2653291" y="6586960"/>
              <a:ext cx="1190791" cy="171474"/>
            </a:xfrm>
            <a:prstGeom prst="rect">
              <a:avLst/>
            </a:prstGeom>
          </p:spPr>
        </p:pic>
      </p:grpSp>
    </p:spTree>
    <p:extLst>
      <p:ext uri="{BB962C8B-B14F-4D97-AF65-F5344CB8AC3E}">
        <p14:creationId xmlns:p14="http://schemas.microsoft.com/office/powerpoint/2010/main" val="1177949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3557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3188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8" name="Tabulka 7">
            <a:extLst>
              <a:ext uri="{FF2B5EF4-FFF2-40B4-BE49-F238E27FC236}">
                <a16:creationId xmlns:a16="http://schemas.microsoft.com/office/drawing/2014/main" id="{71C8C12D-E8AB-4DB1-B6C5-E223304DEA27}"/>
              </a:ext>
            </a:extLst>
          </p:cNvPr>
          <p:cNvGraphicFramePr>
            <a:graphicFrameLocks noGrp="1"/>
          </p:cNvGraphicFramePr>
          <p:nvPr>
            <p:extLst>
              <p:ext uri="{D42A27DB-BD31-4B8C-83A1-F6EECF244321}">
                <p14:modId xmlns:p14="http://schemas.microsoft.com/office/powerpoint/2010/main" val="1709465317"/>
              </p:ext>
            </p:extLst>
          </p:nvPr>
        </p:nvGraphicFramePr>
        <p:xfrm>
          <a:off x="108691" y="703442"/>
          <a:ext cx="7377958" cy="5101933"/>
        </p:xfrm>
        <a:graphic>
          <a:graphicData uri="http://schemas.openxmlformats.org/drawingml/2006/table">
            <a:tbl>
              <a:tblPr/>
              <a:tblGrid>
                <a:gridCol w="1118208">
                  <a:extLst>
                    <a:ext uri="{9D8B030D-6E8A-4147-A177-3AD203B41FA5}">
                      <a16:colId xmlns:a16="http://schemas.microsoft.com/office/drawing/2014/main" val="1148265902"/>
                    </a:ext>
                  </a:extLst>
                </a:gridCol>
                <a:gridCol w="447125">
                  <a:extLst>
                    <a:ext uri="{9D8B030D-6E8A-4147-A177-3AD203B41FA5}">
                      <a16:colId xmlns:a16="http://schemas.microsoft.com/office/drawing/2014/main" val="4204192688"/>
                    </a:ext>
                  </a:extLst>
                </a:gridCol>
                <a:gridCol w="447125">
                  <a:extLst>
                    <a:ext uri="{9D8B030D-6E8A-4147-A177-3AD203B41FA5}">
                      <a16:colId xmlns:a16="http://schemas.microsoft.com/office/drawing/2014/main" val="2099542548"/>
                    </a:ext>
                  </a:extLst>
                </a:gridCol>
                <a:gridCol w="447125">
                  <a:extLst>
                    <a:ext uri="{9D8B030D-6E8A-4147-A177-3AD203B41FA5}">
                      <a16:colId xmlns:a16="http://schemas.microsoft.com/office/drawing/2014/main" val="2917192428"/>
                    </a:ext>
                  </a:extLst>
                </a:gridCol>
                <a:gridCol w="447125">
                  <a:extLst>
                    <a:ext uri="{9D8B030D-6E8A-4147-A177-3AD203B41FA5}">
                      <a16:colId xmlns:a16="http://schemas.microsoft.com/office/drawing/2014/main" val="3029497676"/>
                    </a:ext>
                  </a:extLst>
                </a:gridCol>
                <a:gridCol w="447125">
                  <a:extLst>
                    <a:ext uri="{9D8B030D-6E8A-4147-A177-3AD203B41FA5}">
                      <a16:colId xmlns:a16="http://schemas.microsoft.com/office/drawing/2014/main" val="4196771034"/>
                    </a:ext>
                  </a:extLst>
                </a:gridCol>
                <a:gridCol w="447125">
                  <a:extLst>
                    <a:ext uri="{9D8B030D-6E8A-4147-A177-3AD203B41FA5}">
                      <a16:colId xmlns:a16="http://schemas.microsoft.com/office/drawing/2014/main" val="998449534"/>
                    </a:ext>
                  </a:extLst>
                </a:gridCol>
                <a:gridCol w="447125">
                  <a:extLst>
                    <a:ext uri="{9D8B030D-6E8A-4147-A177-3AD203B41FA5}">
                      <a16:colId xmlns:a16="http://schemas.microsoft.com/office/drawing/2014/main" val="127618143"/>
                    </a:ext>
                  </a:extLst>
                </a:gridCol>
                <a:gridCol w="447125">
                  <a:extLst>
                    <a:ext uri="{9D8B030D-6E8A-4147-A177-3AD203B41FA5}">
                      <a16:colId xmlns:a16="http://schemas.microsoft.com/office/drawing/2014/main" val="2066530231"/>
                    </a:ext>
                  </a:extLst>
                </a:gridCol>
                <a:gridCol w="447125">
                  <a:extLst>
                    <a:ext uri="{9D8B030D-6E8A-4147-A177-3AD203B41FA5}">
                      <a16:colId xmlns:a16="http://schemas.microsoft.com/office/drawing/2014/main" val="2282778220"/>
                    </a:ext>
                  </a:extLst>
                </a:gridCol>
                <a:gridCol w="447125">
                  <a:extLst>
                    <a:ext uri="{9D8B030D-6E8A-4147-A177-3AD203B41FA5}">
                      <a16:colId xmlns:a16="http://schemas.microsoft.com/office/drawing/2014/main" val="3302096046"/>
                    </a:ext>
                  </a:extLst>
                </a:gridCol>
                <a:gridCol w="447125">
                  <a:extLst>
                    <a:ext uri="{9D8B030D-6E8A-4147-A177-3AD203B41FA5}">
                      <a16:colId xmlns:a16="http://schemas.microsoft.com/office/drawing/2014/main" val="2170602027"/>
                    </a:ext>
                  </a:extLst>
                </a:gridCol>
                <a:gridCol w="447125">
                  <a:extLst>
                    <a:ext uri="{9D8B030D-6E8A-4147-A177-3AD203B41FA5}">
                      <a16:colId xmlns:a16="http://schemas.microsoft.com/office/drawing/2014/main" val="4195716851"/>
                    </a:ext>
                  </a:extLst>
                </a:gridCol>
                <a:gridCol w="447125">
                  <a:extLst>
                    <a:ext uri="{9D8B030D-6E8A-4147-A177-3AD203B41FA5}">
                      <a16:colId xmlns:a16="http://schemas.microsoft.com/office/drawing/2014/main" val="249688529"/>
                    </a:ext>
                  </a:extLst>
                </a:gridCol>
                <a:gridCol w="447125">
                  <a:extLst>
                    <a:ext uri="{9D8B030D-6E8A-4147-A177-3AD203B41FA5}">
                      <a16:colId xmlns:a16="http://schemas.microsoft.com/office/drawing/2014/main" val="4244806638"/>
                    </a:ext>
                  </a:extLst>
                </a:gridCol>
              </a:tblGrid>
              <a:tr h="575690">
                <a:tc>
                  <a:txBody>
                    <a:bodyPr/>
                    <a:lstStyle/>
                    <a:p>
                      <a:pPr algn="l" fontAlgn="b"/>
                      <a:endParaRPr lang="cs-CZ" sz="1200" b="0" i="0" u="none" strike="noStrike" dirty="0">
                        <a:solidFill>
                          <a:srgbClr val="000000"/>
                        </a:solidFill>
                        <a:effectLst/>
                        <a:latin typeface="Calibri" panose="020F0502020204030204" pitchFamily="34" charset="0"/>
                      </a:endParaRPr>
                    </a:p>
                  </a:txBody>
                  <a:tcPr marL="360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9. – 13.10.</a:t>
                      </a:r>
                    </a:p>
                    <a:p>
                      <a:pPr algn="ctr" fontAlgn="ctr"/>
                      <a:r>
                        <a:rPr lang="cs-CZ" sz="1200" b="1" i="0" u="none" strike="noStrike" dirty="0">
                          <a:solidFill>
                            <a:srgbClr val="000000"/>
                          </a:solidFill>
                          <a:effectLst/>
                          <a:latin typeface="Calibri" panose="020F0502020204030204" pitchFamily="34" charset="0"/>
                        </a:rPr>
                        <a:t>(43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4.10. – 17.11.</a:t>
                      </a:r>
                    </a:p>
                    <a:p>
                      <a:pPr algn="ctr" fontAlgn="ctr"/>
                      <a:r>
                        <a:rPr lang="cs-CZ" sz="1200" b="1" i="0" u="none" strike="noStrike" dirty="0">
                          <a:solidFill>
                            <a:srgbClr val="000000"/>
                          </a:solidFill>
                          <a:effectLst/>
                          <a:latin typeface="Calibri" panose="020F0502020204030204" pitchFamily="34" charset="0"/>
                        </a:rPr>
                        <a:t>*(35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8.11. – 29.11.</a:t>
                      </a:r>
                    </a:p>
                    <a:p>
                      <a:pPr algn="ctr" fontAlgn="ctr"/>
                      <a:r>
                        <a:rPr lang="cs-CZ" sz="1200" b="1" i="0" u="none" strike="noStrike" dirty="0">
                          <a:solidFill>
                            <a:srgbClr val="000000"/>
                          </a:solidFill>
                          <a:effectLst/>
                          <a:latin typeface="Calibri" panose="020F0502020204030204" pitchFamily="34" charset="0"/>
                        </a:rPr>
                        <a:t>*(12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30.11. – 20.12.</a:t>
                      </a:r>
                    </a:p>
                    <a:p>
                      <a:pPr algn="ctr" fontAlgn="ctr"/>
                      <a:r>
                        <a:rPr lang="cs-CZ" sz="1200" b="1" i="0" u="none" strike="noStrike" dirty="0">
                          <a:solidFill>
                            <a:srgbClr val="000000"/>
                          </a:solidFill>
                          <a:effectLst/>
                          <a:latin typeface="Calibri" panose="020F0502020204030204" pitchFamily="34" charset="0"/>
                        </a:rPr>
                        <a:t>*(21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21.12. – 28.2.</a:t>
                      </a:r>
                    </a:p>
                    <a:p>
                      <a:pPr algn="ctr" fontAlgn="ctr"/>
                      <a:r>
                        <a:rPr lang="cs-CZ" sz="1200" b="1" i="0" u="none" strike="noStrike" dirty="0">
                          <a:solidFill>
                            <a:srgbClr val="000000"/>
                          </a:solidFill>
                          <a:effectLst/>
                          <a:latin typeface="Calibri" panose="020F0502020204030204" pitchFamily="34" charset="0"/>
                        </a:rPr>
                        <a:t>*(70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3. – 11.4.</a:t>
                      </a:r>
                    </a:p>
                    <a:p>
                      <a:pPr algn="ctr" fontAlgn="ctr"/>
                      <a:r>
                        <a:rPr lang="cs-CZ" sz="1200" b="1" i="0" u="none" strike="noStrike" dirty="0">
                          <a:solidFill>
                            <a:srgbClr val="000000"/>
                          </a:solidFill>
                          <a:effectLst/>
                          <a:latin typeface="Calibri" panose="020F0502020204030204" pitchFamily="34" charset="0"/>
                        </a:rPr>
                        <a:t>*(42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2.4. – 4.6.</a:t>
                      </a:r>
                    </a:p>
                    <a:p>
                      <a:pPr algn="ctr" fontAlgn="ctr"/>
                      <a:r>
                        <a:rPr lang="cs-CZ" sz="1200" b="1" i="0" u="none" strike="noStrike" dirty="0">
                          <a:solidFill>
                            <a:srgbClr val="000000"/>
                          </a:solidFill>
                          <a:effectLst/>
                          <a:latin typeface="Calibri" panose="020F0502020204030204" pitchFamily="34" charset="0"/>
                        </a:rPr>
                        <a:t>*(54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43929684"/>
                  </a:ext>
                </a:extLst>
              </a:tr>
              <a:tr h="475013">
                <a:tc>
                  <a:txBody>
                    <a:bodyPr/>
                    <a:lstStyle/>
                    <a:p>
                      <a:pPr algn="l" fontAlgn="b"/>
                      <a:r>
                        <a:rPr lang="cs-CZ" sz="1200" b="1" i="0" u="none" strike="noStrike" dirty="0">
                          <a:solidFill>
                            <a:srgbClr val="000000"/>
                          </a:solidFill>
                          <a:effectLst/>
                          <a:latin typeface="Calibri" panose="020F0502020204030204" pitchFamily="34" charset="0"/>
                        </a:rPr>
                        <a:t>Typ školského zařízení</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Mateřská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8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18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7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8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6916820"/>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Mateřská + 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9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7158992"/>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Mateřská + 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9962414"/>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2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8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0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11056856"/>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9830543"/>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1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6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7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80454374"/>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Střední + 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61185226"/>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99153661"/>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Ostatní</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0747978"/>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CELKEM</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5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73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1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28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0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8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88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2656254"/>
                  </a:ext>
                </a:extLst>
              </a:tr>
            </a:tbl>
          </a:graphicData>
        </a:graphic>
      </p:graphicFrame>
      <p:graphicFrame>
        <p:nvGraphicFramePr>
          <p:cNvPr id="21" name="Graf 20">
            <a:extLst>
              <a:ext uri="{FF2B5EF4-FFF2-40B4-BE49-F238E27FC236}">
                <a16:creationId xmlns:a16="http://schemas.microsoft.com/office/drawing/2014/main" id="{13CED486-063B-4535-8478-FE9123B46702}"/>
              </a:ext>
            </a:extLst>
          </p:cNvPr>
          <p:cNvGraphicFramePr/>
          <p:nvPr>
            <p:extLst>
              <p:ext uri="{D42A27DB-BD31-4B8C-83A1-F6EECF244321}">
                <p14:modId xmlns:p14="http://schemas.microsoft.com/office/powerpoint/2010/main" val="738009924"/>
              </p:ext>
            </p:extLst>
          </p:nvPr>
        </p:nvGraphicFramePr>
        <p:xfrm>
          <a:off x="7553331" y="1213832"/>
          <a:ext cx="4540681" cy="5110767"/>
        </p:xfrm>
        <a:graphic>
          <a:graphicData uri="http://schemas.openxmlformats.org/drawingml/2006/chart">
            <c:chart xmlns:c="http://schemas.openxmlformats.org/drawingml/2006/chart" xmlns:r="http://schemas.openxmlformats.org/officeDocument/2006/relationships" r:id="rId2"/>
          </a:graphicData>
        </a:graphic>
      </p:graphicFrame>
      <p:sp>
        <p:nvSpPr>
          <p:cNvPr id="22" name="Obdélník 21">
            <a:extLst>
              <a:ext uri="{FF2B5EF4-FFF2-40B4-BE49-F238E27FC236}">
                <a16:creationId xmlns:a16="http://schemas.microsoft.com/office/drawing/2014/main" id="{C5461DB9-C9EA-4C13-97BC-688CBBC72183}"/>
              </a:ext>
            </a:extLst>
          </p:cNvPr>
          <p:cNvSpPr/>
          <p:nvPr/>
        </p:nvSpPr>
        <p:spPr>
          <a:xfrm>
            <a:off x="8120908" y="690612"/>
            <a:ext cx="3876676" cy="523220"/>
          </a:xfrm>
          <a:prstGeom prst="rect">
            <a:avLst/>
          </a:prstGeom>
        </p:spPr>
        <p:txBody>
          <a:bodyPr wrap="square">
            <a:spAutoFit/>
          </a:bodyPr>
          <a:lstStyle/>
          <a:p>
            <a:pPr lvl="0" algn="ctr" fontAlgn="ctr">
              <a:defRPr/>
            </a:pPr>
            <a:r>
              <a:rPr kumimoji="0" lang="cs-CZ"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růměrný počet pozitivních </a:t>
            </a:r>
            <a:r>
              <a:rPr lang="cs-CZ" sz="1400" b="1" dirty="0">
                <a:solidFill>
                  <a:srgbClr val="000000"/>
                </a:solidFill>
                <a:latin typeface="Calibri" panose="020F0502020204030204" pitchFamily="34" charset="0"/>
              </a:rPr>
              <a:t>osob za 7 dní v </a:t>
            </a:r>
            <a:r>
              <a:rPr kumimoji="0" lang="cs-CZ"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aném typu ohnisek v daném období</a:t>
            </a:r>
          </a:p>
        </p:txBody>
      </p:sp>
      <p:sp>
        <p:nvSpPr>
          <p:cNvPr id="11" name="Obdélník 10">
            <a:extLst>
              <a:ext uri="{FF2B5EF4-FFF2-40B4-BE49-F238E27FC236}">
                <a16:creationId xmlns:a16="http://schemas.microsoft.com/office/drawing/2014/main" id="{E75D147D-5FD4-4869-8452-7AB75BADDC9A}"/>
              </a:ext>
            </a:extLst>
          </p:cNvPr>
          <p:cNvSpPr/>
          <p:nvPr/>
        </p:nvSpPr>
        <p:spPr>
          <a:xfrm>
            <a:off x="42015" y="5823272"/>
            <a:ext cx="7692285" cy="646331"/>
          </a:xfrm>
          <a:prstGeom prst="rect">
            <a:avLst/>
          </a:prstGeom>
        </p:spPr>
        <p:txBody>
          <a:bodyPr wrap="square">
            <a:spAutoFit/>
          </a:bodyPr>
          <a:lstStyle/>
          <a:p>
            <a:r>
              <a:rPr lang="cs-CZ" sz="900" b="1" i="1" dirty="0"/>
              <a:t>* od 14. 10. 2020 uzavření všech škol (mimo mateřských); od 18. 11. 2020návrat 1. a 2. tříd do škol, otevření speciálních škol a přípravných tříd; </a:t>
            </a:r>
            <a:r>
              <a:rPr lang="cs-CZ" sz="900" i="1" dirty="0">
                <a:solidFill>
                  <a:srgbClr val="000000"/>
                </a:solidFill>
              </a:rPr>
              <a:t>od 25.11. Návrat studentů posledního ročníku SŠ a VOŠ, vybrané praktické výuky pro VŠ, SŠ, VOŠ; </a:t>
            </a:r>
            <a:r>
              <a:rPr lang="cs-CZ" sz="900" b="1" i="1" dirty="0">
                <a:solidFill>
                  <a:srgbClr val="000000"/>
                </a:solidFill>
              </a:rPr>
              <a:t>od 30. 11. 2020 návrat zbytku ZŠ, 6. – 8. třídy v rotačním režimu; od 7.12. návrat zbytku ročníků středních škol v rotačním režimu</a:t>
            </a:r>
            <a:r>
              <a:rPr lang="cs-CZ" sz="900" b="1" i="1" dirty="0"/>
              <a:t>; od 21. 12. 2020 do 3. 1. 2021 vánoční školní prázdniny; od 1. 3. přerušení veškeré prezenční výuky; </a:t>
            </a:r>
            <a:r>
              <a:rPr lang="pl-PL" sz="900" b="1" i="1" dirty="0"/>
              <a:t>od 12. 4. obnovení prezenční výuky</a:t>
            </a:r>
            <a:r>
              <a:rPr lang="cs-CZ" sz="900" b="1" i="1" dirty="0"/>
              <a:t> v nižších ročnících ZŠ, rotační režimy </a:t>
            </a:r>
          </a:p>
        </p:txBody>
      </p:sp>
    </p:spTree>
    <p:extLst>
      <p:ext uri="{BB962C8B-B14F-4D97-AF65-F5344CB8AC3E}">
        <p14:creationId xmlns:p14="http://schemas.microsoft.com/office/powerpoint/2010/main" val="16367267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79F36842-C39D-4185-89AC-45D5F115D276}"/>
              </a:ext>
            </a:extLst>
          </p:cNvPr>
          <p:cNvGraphicFramePr>
            <a:graphicFrameLocks noGrp="1"/>
          </p:cNvGraphicFramePr>
          <p:nvPr>
            <p:extLst>
              <p:ext uri="{D42A27DB-BD31-4B8C-83A1-F6EECF244321}">
                <p14:modId xmlns:p14="http://schemas.microsoft.com/office/powerpoint/2010/main" val="3983214499"/>
              </p:ext>
            </p:extLst>
          </p:nvPr>
        </p:nvGraphicFramePr>
        <p:xfrm>
          <a:off x="1003531" y="5527624"/>
          <a:ext cx="10936016" cy="731520"/>
        </p:xfrm>
        <a:graphic>
          <a:graphicData uri="http://schemas.openxmlformats.org/drawingml/2006/table">
            <a:tbl>
              <a:tblPr/>
              <a:tblGrid>
                <a:gridCol w="188552">
                  <a:extLst>
                    <a:ext uri="{9D8B030D-6E8A-4147-A177-3AD203B41FA5}">
                      <a16:colId xmlns:a16="http://schemas.microsoft.com/office/drawing/2014/main" val="735940185"/>
                    </a:ext>
                  </a:extLst>
                </a:gridCol>
                <a:gridCol w="188552">
                  <a:extLst>
                    <a:ext uri="{9D8B030D-6E8A-4147-A177-3AD203B41FA5}">
                      <a16:colId xmlns:a16="http://schemas.microsoft.com/office/drawing/2014/main" val="2059015467"/>
                    </a:ext>
                  </a:extLst>
                </a:gridCol>
                <a:gridCol w="188552">
                  <a:extLst>
                    <a:ext uri="{9D8B030D-6E8A-4147-A177-3AD203B41FA5}">
                      <a16:colId xmlns:a16="http://schemas.microsoft.com/office/drawing/2014/main" val="905084723"/>
                    </a:ext>
                  </a:extLst>
                </a:gridCol>
                <a:gridCol w="188552">
                  <a:extLst>
                    <a:ext uri="{9D8B030D-6E8A-4147-A177-3AD203B41FA5}">
                      <a16:colId xmlns:a16="http://schemas.microsoft.com/office/drawing/2014/main" val="2109270042"/>
                    </a:ext>
                  </a:extLst>
                </a:gridCol>
                <a:gridCol w="188552">
                  <a:extLst>
                    <a:ext uri="{9D8B030D-6E8A-4147-A177-3AD203B41FA5}">
                      <a16:colId xmlns:a16="http://schemas.microsoft.com/office/drawing/2014/main" val="1254695995"/>
                    </a:ext>
                  </a:extLst>
                </a:gridCol>
                <a:gridCol w="188552">
                  <a:extLst>
                    <a:ext uri="{9D8B030D-6E8A-4147-A177-3AD203B41FA5}">
                      <a16:colId xmlns:a16="http://schemas.microsoft.com/office/drawing/2014/main" val="1326100362"/>
                    </a:ext>
                  </a:extLst>
                </a:gridCol>
                <a:gridCol w="188552">
                  <a:extLst>
                    <a:ext uri="{9D8B030D-6E8A-4147-A177-3AD203B41FA5}">
                      <a16:colId xmlns:a16="http://schemas.microsoft.com/office/drawing/2014/main" val="678817144"/>
                    </a:ext>
                  </a:extLst>
                </a:gridCol>
                <a:gridCol w="188552">
                  <a:extLst>
                    <a:ext uri="{9D8B030D-6E8A-4147-A177-3AD203B41FA5}">
                      <a16:colId xmlns:a16="http://schemas.microsoft.com/office/drawing/2014/main" val="2285724477"/>
                    </a:ext>
                  </a:extLst>
                </a:gridCol>
                <a:gridCol w="188552">
                  <a:extLst>
                    <a:ext uri="{9D8B030D-6E8A-4147-A177-3AD203B41FA5}">
                      <a16:colId xmlns:a16="http://schemas.microsoft.com/office/drawing/2014/main" val="3396006109"/>
                    </a:ext>
                  </a:extLst>
                </a:gridCol>
                <a:gridCol w="188552">
                  <a:extLst>
                    <a:ext uri="{9D8B030D-6E8A-4147-A177-3AD203B41FA5}">
                      <a16:colId xmlns:a16="http://schemas.microsoft.com/office/drawing/2014/main" val="972865551"/>
                    </a:ext>
                  </a:extLst>
                </a:gridCol>
                <a:gridCol w="188552">
                  <a:extLst>
                    <a:ext uri="{9D8B030D-6E8A-4147-A177-3AD203B41FA5}">
                      <a16:colId xmlns:a16="http://schemas.microsoft.com/office/drawing/2014/main" val="672922152"/>
                    </a:ext>
                  </a:extLst>
                </a:gridCol>
                <a:gridCol w="188552">
                  <a:extLst>
                    <a:ext uri="{9D8B030D-6E8A-4147-A177-3AD203B41FA5}">
                      <a16:colId xmlns:a16="http://schemas.microsoft.com/office/drawing/2014/main" val="2510239022"/>
                    </a:ext>
                  </a:extLst>
                </a:gridCol>
                <a:gridCol w="188552">
                  <a:extLst>
                    <a:ext uri="{9D8B030D-6E8A-4147-A177-3AD203B41FA5}">
                      <a16:colId xmlns:a16="http://schemas.microsoft.com/office/drawing/2014/main" val="3222600219"/>
                    </a:ext>
                  </a:extLst>
                </a:gridCol>
                <a:gridCol w="188552">
                  <a:extLst>
                    <a:ext uri="{9D8B030D-6E8A-4147-A177-3AD203B41FA5}">
                      <a16:colId xmlns:a16="http://schemas.microsoft.com/office/drawing/2014/main" val="3968279207"/>
                    </a:ext>
                  </a:extLst>
                </a:gridCol>
                <a:gridCol w="188552">
                  <a:extLst>
                    <a:ext uri="{9D8B030D-6E8A-4147-A177-3AD203B41FA5}">
                      <a16:colId xmlns:a16="http://schemas.microsoft.com/office/drawing/2014/main" val="1951998392"/>
                    </a:ext>
                  </a:extLst>
                </a:gridCol>
                <a:gridCol w="188552">
                  <a:extLst>
                    <a:ext uri="{9D8B030D-6E8A-4147-A177-3AD203B41FA5}">
                      <a16:colId xmlns:a16="http://schemas.microsoft.com/office/drawing/2014/main" val="845554715"/>
                    </a:ext>
                  </a:extLst>
                </a:gridCol>
                <a:gridCol w="188552">
                  <a:extLst>
                    <a:ext uri="{9D8B030D-6E8A-4147-A177-3AD203B41FA5}">
                      <a16:colId xmlns:a16="http://schemas.microsoft.com/office/drawing/2014/main" val="3774290144"/>
                    </a:ext>
                  </a:extLst>
                </a:gridCol>
                <a:gridCol w="188552">
                  <a:extLst>
                    <a:ext uri="{9D8B030D-6E8A-4147-A177-3AD203B41FA5}">
                      <a16:colId xmlns:a16="http://schemas.microsoft.com/office/drawing/2014/main" val="108902068"/>
                    </a:ext>
                  </a:extLst>
                </a:gridCol>
                <a:gridCol w="188552">
                  <a:extLst>
                    <a:ext uri="{9D8B030D-6E8A-4147-A177-3AD203B41FA5}">
                      <a16:colId xmlns:a16="http://schemas.microsoft.com/office/drawing/2014/main" val="2770695235"/>
                    </a:ext>
                  </a:extLst>
                </a:gridCol>
                <a:gridCol w="188552">
                  <a:extLst>
                    <a:ext uri="{9D8B030D-6E8A-4147-A177-3AD203B41FA5}">
                      <a16:colId xmlns:a16="http://schemas.microsoft.com/office/drawing/2014/main" val="1518779032"/>
                    </a:ext>
                  </a:extLst>
                </a:gridCol>
                <a:gridCol w="188552">
                  <a:extLst>
                    <a:ext uri="{9D8B030D-6E8A-4147-A177-3AD203B41FA5}">
                      <a16:colId xmlns:a16="http://schemas.microsoft.com/office/drawing/2014/main" val="3569293215"/>
                    </a:ext>
                  </a:extLst>
                </a:gridCol>
                <a:gridCol w="188552">
                  <a:extLst>
                    <a:ext uri="{9D8B030D-6E8A-4147-A177-3AD203B41FA5}">
                      <a16:colId xmlns:a16="http://schemas.microsoft.com/office/drawing/2014/main" val="3868680453"/>
                    </a:ext>
                  </a:extLst>
                </a:gridCol>
                <a:gridCol w="188552">
                  <a:extLst>
                    <a:ext uri="{9D8B030D-6E8A-4147-A177-3AD203B41FA5}">
                      <a16:colId xmlns:a16="http://schemas.microsoft.com/office/drawing/2014/main" val="55701412"/>
                    </a:ext>
                  </a:extLst>
                </a:gridCol>
                <a:gridCol w="188552">
                  <a:extLst>
                    <a:ext uri="{9D8B030D-6E8A-4147-A177-3AD203B41FA5}">
                      <a16:colId xmlns:a16="http://schemas.microsoft.com/office/drawing/2014/main" val="2470102101"/>
                    </a:ext>
                  </a:extLst>
                </a:gridCol>
                <a:gridCol w="188552">
                  <a:extLst>
                    <a:ext uri="{9D8B030D-6E8A-4147-A177-3AD203B41FA5}">
                      <a16:colId xmlns:a16="http://schemas.microsoft.com/office/drawing/2014/main" val="4105465584"/>
                    </a:ext>
                  </a:extLst>
                </a:gridCol>
                <a:gridCol w="188552">
                  <a:extLst>
                    <a:ext uri="{9D8B030D-6E8A-4147-A177-3AD203B41FA5}">
                      <a16:colId xmlns:a16="http://schemas.microsoft.com/office/drawing/2014/main" val="2906390311"/>
                    </a:ext>
                  </a:extLst>
                </a:gridCol>
                <a:gridCol w="188552">
                  <a:extLst>
                    <a:ext uri="{9D8B030D-6E8A-4147-A177-3AD203B41FA5}">
                      <a16:colId xmlns:a16="http://schemas.microsoft.com/office/drawing/2014/main" val="1884720963"/>
                    </a:ext>
                  </a:extLst>
                </a:gridCol>
                <a:gridCol w="188552">
                  <a:extLst>
                    <a:ext uri="{9D8B030D-6E8A-4147-A177-3AD203B41FA5}">
                      <a16:colId xmlns:a16="http://schemas.microsoft.com/office/drawing/2014/main" val="2810993803"/>
                    </a:ext>
                  </a:extLst>
                </a:gridCol>
                <a:gridCol w="188552">
                  <a:extLst>
                    <a:ext uri="{9D8B030D-6E8A-4147-A177-3AD203B41FA5}">
                      <a16:colId xmlns:a16="http://schemas.microsoft.com/office/drawing/2014/main" val="2072921100"/>
                    </a:ext>
                  </a:extLst>
                </a:gridCol>
                <a:gridCol w="188552">
                  <a:extLst>
                    <a:ext uri="{9D8B030D-6E8A-4147-A177-3AD203B41FA5}">
                      <a16:colId xmlns:a16="http://schemas.microsoft.com/office/drawing/2014/main" val="1092356711"/>
                    </a:ext>
                  </a:extLst>
                </a:gridCol>
                <a:gridCol w="188552">
                  <a:extLst>
                    <a:ext uri="{9D8B030D-6E8A-4147-A177-3AD203B41FA5}">
                      <a16:colId xmlns:a16="http://schemas.microsoft.com/office/drawing/2014/main" val="2188962122"/>
                    </a:ext>
                  </a:extLst>
                </a:gridCol>
                <a:gridCol w="188552">
                  <a:extLst>
                    <a:ext uri="{9D8B030D-6E8A-4147-A177-3AD203B41FA5}">
                      <a16:colId xmlns:a16="http://schemas.microsoft.com/office/drawing/2014/main" val="1700911463"/>
                    </a:ext>
                  </a:extLst>
                </a:gridCol>
                <a:gridCol w="188552">
                  <a:extLst>
                    <a:ext uri="{9D8B030D-6E8A-4147-A177-3AD203B41FA5}">
                      <a16:colId xmlns:a16="http://schemas.microsoft.com/office/drawing/2014/main" val="2241143118"/>
                    </a:ext>
                  </a:extLst>
                </a:gridCol>
                <a:gridCol w="188552">
                  <a:extLst>
                    <a:ext uri="{9D8B030D-6E8A-4147-A177-3AD203B41FA5}">
                      <a16:colId xmlns:a16="http://schemas.microsoft.com/office/drawing/2014/main" val="27745143"/>
                    </a:ext>
                  </a:extLst>
                </a:gridCol>
                <a:gridCol w="188552">
                  <a:extLst>
                    <a:ext uri="{9D8B030D-6E8A-4147-A177-3AD203B41FA5}">
                      <a16:colId xmlns:a16="http://schemas.microsoft.com/office/drawing/2014/main" val="2249511895"/>
                    </a:ext>
                  </a:extLst>
                </a:gridCol>
                <a:gridCol w="188552">
                  <a:extLst>
                    <a:ext uri="{9D8B030D-6E8A-4147-A177-3AD203B41FA5}">
                      <a16:colId xmlns:a16="http://schemas.microsoft.com/office/drawing/2014/main" val="4272339232"/>
                    </a:ext>
                  </a:extLst>
                </a:gridCol>
                <a:gridCol w="188552">
                  <a:extLst>
                    <a:ext uri="{9D8B030D-6E8A-4147-A177-3AD203B41FA5}">
                      <a16:colId xmlns:a16="http://schemas.microsoft.com/office/drawing/2014/main" val="2240245860"/>
                    </a:ext>
                  </a:extLst>
                </a:gridCol>
                <a:gridCol w="188552">
                  <a:extLst>
                    <a:ext uri="{9D8B030D-6E8A-4147-A177-3AD203B41FA5}">
                      <a16:colId xmlns:a16="http://schemas.microsoft.com/office/drawing/2014/main" val="4007638702"/>
                    </a:ext>
                  </a:extLst>
                </a:gridCol>
                <a:gridCol w="188552">
                  <a:extLst>
                    <a:ext uri="{9D8B030D-6E8A-4147-A177-3AD203B41FA5}">
                      <a16:colId xmlns:a16="http://schemas.microsoft.com/office/drawing/2014/main" val="1381531716"/>
                    </a:ext>
                  </a:extLst>
                </a:gridCol>
                <a:gridCol w="188552">
                  <a:extLst>
                    <a:ext uri="{9D8B030D-6E8A-4147-A177-3AD203B41FA5}">
                      <a16:colId xmlns:a16="http://schemas.microsoft.com/office/drawing/2014/main" val="3881815474"/>
                    </a:ext>
                  </a:extLst>
                </a:gridCol>
                <a:gridCol w="188552">
                  <a:extLst>
                    <a:ext uri="{9D8B030D-6E8A-4147-A177-3AD203B41FA5}">
                      <a16:colId xmlns:a16="http://schemas.microsoft.com/office/drawing/2014/main" val="2536922933"/>
                    </a:ext>
                  </a:extLst>
                </a:gridCol>
                <a:gridCol w="188552">
                  <a:extLst>
                    <a:ext uri="{9D8B030D-6E8A-4147-A177-3AD203B41FA5}">
                      <a16:colId xmlns:a16="http://schemas.microsoft.com/office/drawing/2014/main" val="3348155816"/>
                    </a:ext>
                  </a:extLst>
                </a:gridCol>
                <a:gridCol w="188552">
                  <a:extLst>
                    <a:ext uri="{9D8B030D-6E8A-4147-A177-3AD203B41FA5}">
                      <a16:colId xmlns:a16="http://schemas.microsoft.com/office/drawing/2014/main" val="128407806"/>
                    </a:ext>
                  </a:extLst>
                </a:gridCol>
                <a:gridCol w="188552">
                  <a:extLst>
                    <a:ext uri="{9D8B030D-6E8A-4147-A177-3AD203B41FA5}">
                      <a16:colId xmlns:a16="http://schemas.microsoft.com/office/drawing/2014/main" val="4038854574"/>
                    </a:ext>
                  </a:extLst>
                </a:gridCol>
                <a:gridCol w="188552">
                  <a:extLst>
                    <a:ext uri="{9D8B030D-6E8A-4147-A177-3AD203B41FA5}">
                      <a16:colId xmlns:a16="http://schemas.microsoft.com/office/drawing/2014/main" val="4209561194"/>
                    </a:ext>
                  </a:extLst>
                </a:gridCol>
                <a:gridCol w="188552">
                  <a:extLst>
                    <a:ext uri="{9D8B030D-6E8A-4147-A177-3AD203B41FA5}">
                      <a16:colId xmlns:a16="http://schemas.microsoft.com/office/drawing/2014/main" val="1728417292"/>
                    </a:ext>
                  </a:extLst>
                </a:gridCol>
                <a:gridCol w="188552">
                  <a:extLst>
                    <a:ext uri="{9D8B030D-6E8A-4147-A177-3AD203B41FA5}">
                      <a16:colId xmlns:a16="http://schemas.microsoft.com/office/drawing/2014/main" val="508222033"/>
                    </a:ext>
                  </a:extLst>
                </a:gridCol>
                <a:gridCol w="188552">
                  <a:extLst>
                    <a:ext uri="{9D8B030D-6E8A-4147-A177-3AD203B41FA5}">
                      <a16:colId xmlns:a16="http://schemas.microsoft.com/office/drawing/2014/main" val="3218580780"/>
                    </a:ext>
                  </a:extLst>
                </a:gridCol>
                <a:gridCol w="188552">
                  <a:extLst>
                    <a:ext uri="{9D8B030D-6E8A-4147-A177-3AD203B41FA5}">
                      <a16:colId xmlns:a16="http://schemas.microsoft.com/office/drawing/2014/main" val="435579354"/>
                    </a:ext>
                  </a:extLst>
                </a:gridCol>
                <a:gridCol w="188552">
                  <a:extLst>
                    <a:ext uri="{9D8B030D-6E8A-4147-A177-3AD203B41FA5}">
                      <a16:colId xmlns:a16="http://schemas.microsoft.com/office/drawing/2014/main" val="391316474"/>
                    </a:ext>
                  </a:extLst>
                </a:gridCol>
                <a:gridCol w="188552">
                  <a:extLst>
                    <a:ext uri="{9D8B030D-6E8A-4147-A177-3AD203B41FA5}">
                      <a16:colId xmlns:a16="http://schemas.microsoft.com/office/drawing/2014/main" val="1183460280"/>
                    </a:ext>
                  </a:extLst>
                </a:gridCol>
                <a:gridCol w="188552">
                  <a:extLst>
                    <a:ext uri="{9D8B030D-6E8A-4147-A177-3AD203B41FA5}">
                      <a16:colId xmlns:a16="http://schemas.microsoft.com/office/drawing/2014/main" val="4006260345"/>
                    </a:ext>
                  </a:extLst>
                </a:gridCol>
                <a:gridCol w="188552">
                  <a:extLst>
                    <a:ext uri="{9D8B030D-6E8A-4147-A177-3AD203B41FA5}">
                      <a16:colId xmlns:a16="http://schemas.microsoft.com/office/drawing/2014/main" val="4061140809"/>
                    </a:ext>
                  </a:extLst>
                </a:gridCol>
                <a:gridCol w="188552">
                  <a:extLst>
                    <a:ext uri="{9D8B030D-6E8A-4147-A177-3AD203B41FA5}">
                      <a16:colId xmlns:a16="http://schemas.microsoft.com/office/drawing/2014/main" val="1461332699"/>
                    </a:ext>
                  </a:extLst>
                </a:gridCol>
                <a:gridCol w="188552">
                  <a:extLst>
                    <a:ext uri="{9D8B030D-6E8A-4147-A177-3AD203B41FA5}">
                      <a16:colId xmlns:a16="http://schemas.microsoft.com/office/drawing/2014/main" val="801493886"/>
                    </a:ext>
                  </a:extLst>
                </a:gridCol>
                <a:gridCol w="188552">
                  <a:extLst>
                    <a:ext uri="{9D8B030D-6E8A-4147-A177-3AD203B41FA5}">
                      <a16:colId xmlns:a16="http://schemas.microsoft.com/office/drawing/2014/main" val="2555043957"/>
                    </a:ext>
                  </a:extLst>
                </a:gridCol>
                <a:gridCol w="188552">
                  <a:extLst>
                    <a:ext uri="{9D8B030D-6E8A-4147-A177-3AD203B41FA5}">
                      <a16:colId xmlns:a16="http://schemas.microsoft.com/office/drawing/2014/main" val="1909961667"/>
                    </a:ext>
                  </a:extLst>
                </a:gridCol>
                <a:gridCol w="188552">
                  <a:extLst>
                    <a:ext uri="{9D8B030D-6E8A-4147-A177-3AD203B41FA5}">
                      <a16:colId xmlns:a16="http://schemas.microsoft.com/office/drawing/2014/main" val="82664398"/>
                    </a:ext>
                  </a:extLst>
                </a:gridCol>
              </a:tblGrid>
              <a:tr h="365760">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5</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9</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7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7</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29</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86</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3</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9</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1</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1</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5</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3</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92</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95</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3</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8</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6</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5</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7</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2</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0</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2</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4</a:t>
                      </a:r>
                    </a:p>
                  </a:txBody>
                  <a:tcPr marL="2833" marR="2833" marT="2833"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833" marR="2833" marT="2833" marB="0" anchor="ctr">
                    <a:lnL>
                      <a:noFill/>
                    </a:lnL>
                    <a:lnR>
                      <a:noFill/>
                    </a:lnR>
                    <a:lnT>
                      <a:noFill/>
                    </a:lnT>
                    <a:lnB>
                      <a:noFill/>
                    </a:lnB>
                  </a:tcPr>
                </a:tc>
                <a:extLst>
                  <a:ext uri="{0D108BD9-81ED-4DB2-BD59-A6C34878D82A}">
                    <a16:rowId xmlns:a16="http://schemas.microsoft.com/office/drawing/2014/main" val="64224398"/>
                  </a:ext>
                </a:extLst>
              </a:tr>
              <a:tr h="365760">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833" marR="2833" marT="2833"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833" marR="2833" marT="2833"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8,0</a:t>
                      </a:r>
                    </a:p>
                  </a:txBody>
                  <a:tcPr marL="2833" marR="2833" marT="2833" marB="0" anchor="ctr">
                    <a:lnL>
                      <a:noFill/>
                    </a:lnL>
                    <a:lnR>
                      <a:noFill/>
                    </a:lnR>
                    <a:lnT>
                      <a:noFill/>
                    </a:lnT>
                    <a:lnB>
                      <a:noFill/>
                    </a:lnB>
                    <a:solidFill>
                      <a:srgbClr val="F96B6D"/>
                    </a:solidFill>
                  </a:tcPr>
                </a:tc>
                <a:tc>
                  <a:txBody>
                    <a:bodyPr/>
                    <a:lstStyle/>
                    <a:p>
                      <a:pPr algn="ctr" fontAlgn="ctr"/>
                      <a:r>
                        <a:rPr lang="cs-CZ" sz="800" b="0" i="0" u="none" strike="noStrike">
                          <a:solidFill>
                            <a:srgbClr val="000000"/>
                          </a:solidFill>
                          <a:effectLst/>
                          <a:latin typeface="Calibri" panose="020F0502020204030204" pitchFamily="34" charset="0"/>
                        </a:rPr>
                        <a:t>3,0</a:t>
                      </a:r>
                    </a:p>
                  </a:txBody>
                  <a:tcPr marL="2833" marR="2833" marT="2833" marB="0" anchor="ctr">
                    <a:lnL>
                      <a:noFill/>
                    </a:lnL>
                    <a:lnR>
                      <a:noFill/>
                    </a:lnR>
                    <a:lnT>
                      <a:noFill/>
                    </a:lnT>
                    <a:lnB>
                      <a:noFill/>
                    </a:lnB>
                    <a:solidFill>
                      <a:srgbClr val="FBD3D6"/>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833" marR="2833" marT="2833" marB="0" anchor="ctr">
                    <a:lnL>
                      <a:noFill/>
                    </a:lnL>
                    <a:lnR>
                      <a:noFill/>
                    </a:lnR>
                    <a:lnT>
                      <a:noFill/>
                    </a:lnT>
                    <a:lnB>
                      <a:noFill/>
                    </a:lnB>
                    <a:solidFill>
                      <a:srgbClr val="F98A8C"/>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833" marR="2833" marT="2833"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833" marR="2833" marT="2833"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833" marR="2833" marT="2833"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833" marR="2833" marT="2833"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2833" marR="2833" marT="2833" marB="0" anchor="ctr">
                    <a:lnL>
                      <a:noFill/>
                    </a:lnL>
                    <a:lnR>
                      <a:noFill/>
                    </a:lnR>
                    <a:lnT>
                      <a:noFill/>
                    </a:lnT>
                    <a:lnB>
                      <a:noFill/>
                    </a:lnB>
                    <a:solidFill>
                      <a:srgbClr val="FBCFD2"/>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833" marR="2833" marT="2833" marB="0" anchor="ctr">
                    <a:lnL>
                      <a:noFill/>
                    </a:lnL>
                    <a:lnR>
                      <a:noFill/>
                    </a:lnR>
                    <a:lnT>
                      <a:noFill/>
                    </a:lnT>
                    <a:lnB>
                      <a:noFill/>
                    </a:lnB>
                    <a:solidFill>
                      <a:srgbClr val="FBC1C4"/>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833" marR="2833" marT="2833" marB="0" anchor="ctr">
                    <a:lnL>
                      <a:noFill/>
                    </a:lnL>
                    <a:lnR>
                      <a:noFill/>
                    </a:lnR>
                    <a:lnT>
                      <a:noFill/>
                    </a:lnT>
                    <a:lnB>
                      <a:noFill/>
                    </a:lnB>
                    <a:solidFill>
                      <a:srgbClr val="F98587"/>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2833" marR="2833" marT="2833" marB="0" anchor="ctr">
                    <a:lnL>
                      <a:noFill/>
                    </a:lnL>
                    <a:lnR>
                      <a:noFill/>
                    </a:lnR>
                    <a:lnT>
                      <a:noFill/>
                    </a:lnT>
                    <a:lnB>
                      <a:noFill/>
                    </a:lnB>
                    <a:solidFill>
                      <a:srgbClr val="FBBABD"/>
                    </a:solidFill>
                  </a:tcPr>
                </a:tc>
                <a:tc>
                  <a:txBody>
                    <a:bodyPr/>
                    <a:lstStyle/>
                    <a:p>
                      <a:pPr algn="ctr" fontAlgn="ctr"/>
                      <a:r>
                        <a:rPr lang="cs-CZ" sz="800" b="0" i="0" u="none" strike="noStrike">
                          <a:solidFill>
                            <a:srgbClr val="000000"/>
                          </a:solidFill>
                          <a:effectLst/>
                          <a:latin typeface="Calibri" panose="020F0502020204030204" pitchFamily="34" charset="0"/>
                        </a:rPr>
                        <a:t>6,3</a:t>
                      </a:r>
                    </a:p>
                  </a:txBody>
                  <a:tcPr marL="2833" marR="2833" marT="2833" marB="0" anchor="ctr">
                    <a:lnL>
                      <a:noFill/>
                    </a:lnL>
                    <a:lnR>
                      <a:noFill/>
                    </a:lnR>
                    <a:lnT>
                      <a:noFill/>
                    </a:lnT>
                    <a:lnB>
                      <a:noFill/>
                    </a:lnB>
                    <a:solidFill>
                      <a:srgbClr val="FA8F91"/>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2833" marR="2833" marT="2833" marB="0" anchor="ctr">
                    <a:lnL>
                      <a:noFill/>
                    </a:lnL>
                    <a:lnR>
                      <a:noFill/>
                    </a:lnR>
                    <a:lnT>
                      <a:noFill/>
                    </a:lnT>
                    <a:lnB>
                      <a:noFill/>
                    </a:lnB>
                    <a:solidFill>
                      <a:srgbClr val="F97B7D"/>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2833" marR="2833" marT="2833" marB="0" anchor="ctr">
                    <a:lnL>
                      <a:noFill/>
                    </a:lnL>
                    <a:lnR>
                      <a:noFill/>
                    </a:lnR>
                    <a:lnT>
                      <a:noFill/>
                    </a:lnT>
                    <a:lnB>
                      <a:noFill/>
                    </a:lnB>
                    <a:solidFill>
                      <a:srgbClr val="FBCDD0"/>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833" marR="2833" marT="2833" marB="0" anchor="ctr">
                    <a:lnL>
                      <a:noFill/>
                    </a:lnL>
                    <a:lnR>
                      <a:noFill/>
                    </a:lnR>
                    <a:lnT>
                      <a:noFill/>
                    </a:lnT>
                    <a:lnB>
                      <a:noFill/>
                    </a:lnB>
                    <a:solidFill>
                      <a:srgbClr val="F9868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833" marR="2833" marT="2833" marB="0" anchor="ctr">
                    <a:lnL>
                      <a:noFill/>
                    </a:lnL>
                    <a:lnR>
                      <a:noFill/>
                    </a:lnR>
                    <a:lnT>
                      <a:noFill/>
                    </a:lnT>
                    <a:lnB>
                      <a:noFill/>
                    </a:lnB>
                    <a:solidFill>
                      <a:srgbClr val="FBBCBF"/>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2833" marR="2833" marT="2833" marB="0" anchor="ctr">
                    <a:lnL>
                      <a:noFill/>
                    </a:lnL>
                    <a:lnR>
                      <a:noFill/>
                    </a:lnR>
                    <a:lnT>
                      <a:noFill/>
                    </a:lnT>
                    <a:lnB>
                      <a:noFill/>
                    </a:lnB>
                    <a:solidFill>
                      <a:srgbClr val="FAAAAC"/>
                    </a:solidFill>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2833" marR="2833" marT="2833" marB="0" anchor="ctr">
                    <a:lnL>
                      <a:noFill/>
                    </a:lnL>
                    <a:lnR>
                      <a:noFill/>
                    </a:lnR>
                    <a:lnT>
                      <a:noFill/>
                    </a:lnT>
                    <a:lnB>
                      <a:noFill/>
                    </a:lnB>
                    <a:solidFill>
                      <a:srgbClr val="FBC4C6"/>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833" marR="2833" marT="2833"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2833" marR="2833" marT="2833" marB="0" anchor="ctr">
                    <a:lnL>
                      <a:noFill/>
                    </a:lnL>
                    <a:lnR>
                      <a:noFill/>
                    </a:lnR>
                    <a:lnT>
                      <a:noFill/>
                    </a:lnT>
                    <a:lnB>
                      <a:noFill/>
                    </a:lnB>
                    <a:solidFill>
                      <a:srgbClr val="F8696B"/>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833" marR="2833" marT="2833" marB="0" anchor="ctr">
                    <a:lnL>
                      <a:noFill/>
                    </a:lnL>
                    <a:lnR>
                      <a:noFill/>
                    </a:lnR>
                    <a:lnT>
                      <a:noFill/>
                    </a:lnT>
                    <a:lnB>
                      <a:noFill/>
                    </a:lnB>
                    <a:solidFill>
                      <a:srgbClr val="FAADB0"/>
                    </a:solidFill>
                  </a:tcPr>
                </a:tc>
                <a:tc>
                  <a:txBody>
                    <a:bodyPr/>
                    <a:lstStyle/>
                    <a:p>
                      <a:pPr algn="ctr" fontAlgn="ctr"/>
                      <a:r>
                        <a:rPr lang="cs-CZ" sz="800" b="0" i="0" u="none" strike="noStrike">
                          <a:solidFill>
                            <a:srgbClr val="000000"/>
                          </a:solidFill>
                          <a:effectLst/>
                          <a:latin typeface="Calibri" panose="020F0502020204030204" pitchFamily="34" charset="0"/>
                        </a:rPr>
                        <a:t>5,3</a:t>
                      </a:r>
                    </a:p>
                  </a:txBody>
                  <a:tcPr marL="2833" marR="2833" marT="2833" marB="0" anchor="ctr">
                    <a:lnL>
                      <a:noFill/>
                    </a:lnL>
                    <a:lnR>
                      <a:noFill/>
                    </a:lnR>
                    <a:lnT>
                      <a:noFill/>
                    </a:lnT>
                    <a:lnB>
                      <a:noFill/>
                    </a:lnB>
                    <a:solidFill>
                      <a:srgbClr val="FAA4A6"/>
                    </a:solidFill>
                  </a:tcPr>
                </a:tc>
                <a:tc>
                  <a:txBody>
                    <a:bodyPr/>
                    <a:lstStyle/>
                    <a:p>
                      <a:pPr algn="ctr" fontAlgn="ctr"/>
                      <a:r>
                        <a:rPr lang="cs-CZ" sz="800" b="0" i="0" u="none" strike="noStrike">
                          <a:solidFill>
                            <a:srgbClr val="000000"/>
                          </a:solidFill>
                          <a:effectLst/>
                          <a:latin typeface="Calibri" panose="020F0502020204030204" pitchFamily="34" charset="0"/>
                        </a:rPr>
                        <a:t>6,2</a:t>
                      </a:r>
                    </a:p>
                  </a:txBody>
                  <a:tcPr marL="2833" marR="2833" marT="2833" marB="0" anchor="ctr">
                    <a:lnL>
                      <a:noFill/>
                    </a:lnL>
                    <a:lnR>
                      <a:noFill/>
                    </a:lnR>
                    <a:lnT>
                      <a:noFill/>
                    </a:lnT>
                    <a:lnB>
                      <a:noFill/>
                    </a:lnB>
                    <a:solidFill>
                      <a:srgbClr val="FA9193"/>
                    </a:solidFill>
                  </a:tcPr>
                </a:tc>
                <a:tc>
                  <a:txBody>
                    <a:bodyPr/>
                    <a:lstStyle/>
                    <a:p>
                      <a:pPr algn="ctr" fontAlgn="ctr"/>
                      <a:r>
                        <a:rPr lang="cs-CZ" sz="800" b="0" i="0" u="none" strike="noStrike">
                          <a:solidFill>
                            <a:srgbClr val="000000"/>
                          </a:solidFill>
                          <a:effectLst/>
                          <a:latin typeface="Calibri" panose="020F0502020204030204" pitchFamily="34" charset="0"/>
                        </a:rPr>
                        <a:t>5,4</a:t>
                      </a:r>
                    </a:p>
                  </a:txBody>
                  <a:tcPr marL="2833" marR="2833" marT="2833" marB="0" anchor="ctr">
                    <a:lnL>
                      <a:noFill/>
                    </a:lnL>
                    <a:lnR>
                      <a:noFill/>
                    </a:lnR>
                    <a:lnT>
                      <a:noFill/>
                    </a:lnT>
                    <a:lnB>
                      <a:noFill/>
                    </a:lnB>
                    <a:solidFill>
                      <a:srgbClr val="FAA1A4"/>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833" marR="2833" marT="2833" marB="0" anchor="ctr">
                    <a:lnL>
                      <a:noFill/>
                    </a:lnL>
                    <a:lnR>
                      <a:noFill/>
                    </a:lnR>
                    <a:lnT>
                      <a:noFill/>
                    </a:lnT>
                    <a:lnB>
                      <a:noFill/>
                    </a:lnB>
                    <a:solidFill>
                      <a:srgbClr val="F98A8D"/>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833" marR="2833" marT="2833" marB="0" anchor="ctr">
                    <a:lnL>
                      <a:noFill/>
                    </a:lnL>
                    <a:lnR>
                      <a:noFill/>
                    </a:lnR>
                    <a:lnT>
                      <a:noFill/>
                    </a:lnT>
                    <a:lnB>
                      <a:noFill/>
                    </a:lnB>
                    <a:solidFill>
                      <a:srgbClr val="FBBFC1"/>
                    </a:solidFill>
                  </a:tcPr>
                </a:tc>
                <a:tc>
                  <a:txBody>
                    <a:bodyPr/>
                    <a:lstStyle/>
                    <a:p>
                      <a:pPr algn="ctr" fontAlgn="ctr"/>
                      <a:r>
                        <a:rPr lang="cs-CZ" sz="800" b="0" i="0" u="none" strike="noStrike">
                          <a:solidFill>
                            <a:srgbClr val="000000"/>
                          </a:solidFill>
                          <a:effectLst/>
                          <a:latin typeface="Calibri" panose="020F0502020204030204" pitchFamily="34" charset="0"/>
                        </a:rPr>
                        <a:t>3,4</a:t>
                      </a:r>
                    </a:p>
                  </a:txBody>
                  <a:tcPr marL="2833" marR="2833" marT="2833" marB="0" anchor="ctr">
                    <a:lnL>
                      <a:noFill/>
                    </a:lnL>
                    <a:lnR>
                      <a:noFill/>
                    </a:lnR>
                    <a:lnT>
                      <a:noFill/>
                    </a:lnT>
                    <a:lnB>
                      <a:noFill/>
                    </a:lnB>
                    <a:solidFill>
                      <a:srgbClr val="FBCACD"/>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2833" marR="2833" marT="2833" marB="0" anchor="ctr">
                    <a:lnL>
                      <a:noFill/>
                    </a:lnL>
                    <a:lnR>
                      <a:noFill/>
                    </a:lnR>
                    <a:lnT>
                      <a:noFill/>
                    </a:lnT>
                    <a:lnB>
                      <a:noFill/>
                    </a:lnB>
                    <a:solidFill>
                      <a:srgbClr val="F9888A"/>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833" marR="2833" marT="2833" marB="0" anchor="ctr">
                    <a:lnL>
                      <a:noFill/>
                    </a:lnL>
                    <a:lnR>
                      <a:noFill/>
                    </a:lnR>
                    <a:lnT>
                      <a:noFill/>
                    </a:lnT>
                    <a:lnB>
                      <a:noFill/>
                    </a:lnB>
                    <a:solidFill>
                      <a:srgbClr val="FA9395"/>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833" marR="2833" marT="2833" marB="0" anchor="ctr">
                    <a:lnL>
                      <a:noFill/>
                    </a:lnL>
                    <a:lnR>
                      <a:noFill/>
                    </a:lnR>
                    <a:lnT>
                      <a:noFill/>
                    </a:lnT>
                    <a:lnB>
                      <a:noFill/>
                    </a:lnB>
                    <a:solidFill>
                      <a:srgbClr val="F98688"/>
                    </a:solidFill>
                  </a:tcPr>
                </a:tc>
                <a:tc>
                  <a:txBody>
                    <a:bodyPr/>
                    <a:lstStyle/>
                    <a:p>
                      <a:pPr algn="ctr" fontAlgn="ctr"/>
                      <a:r>
                        <a:rPr lang="cs-CZ" sz="800" b="0" i="0" u="none" strike="noStrike">
                          <a:solidFill>
                            <a:srgbClr val="000000"/>
                          </a:solidFill>
                          <a:effectLst/>
                          <a:latin typeface="Calibri" panose="020F0502020204030204" pitchFamily="34" charset="0"/>
                        </a:rPr>
                        <a:t>7,5</a:t>
                      </a:r>
                    </a:p>
                  </a:txBody>
                  <a:tcPr marL="2833" marR="2833" marT="2833" marB="0" anchor="ctr">
                    <a:lnL>
                      <a:noFill/>
                    </a:lnL>
                    <a:lnR>
                      <a:noFill/>
                    </a:lnR>
                    <a:lnT>
                      <a:noFill/>
                    </a:lnT>
                    <a:lnB>
                      <a:noFill/>
                    </a:lnB>
                    <a:solidFill>
                      <a:srgbClr val="F97678"/>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833" marR="2833" marT="2833" marB="0" anchor="ctr">
                    <a:lnL>
                      <a:noFill/>
                    </a:lnL>
                    <a:lnR>
                      <a:noFill/>
                    </a:lnR>
                    <a:lnT>
                      <a:noFill/>
                    </a:lnT>
                    <a:lnB>
                      <a:noFill/>
                    </a:lnB>
                    <a:solidFill>
                      <a:srgbClr val="FA9294"/>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833" marR="2833" marT="2833" marB="0" anchor="ctr">
                    <a:lnL>
                      <a:noFill/>
                    </a:lnL>
                    <a:lnR>
                      <a:noFill/>
                    </a:lnR>
                    <a:lnT>
                      <a:noFill/>
                    </a:lnT>
                    <a:lnB>
                      <a:noFill/>
                    </a:lnB>
                    <a:solidFill>
                      <a:srgbClr val="FBC0C3"/>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833" marR="2833" marT="2833" marB="0" anchor="ctr">
                    <a:lnL>
                      <a:noFill/>
                    </a:lnL>
                    <a:lnR>
                      <a:noFill/>
                    </a:lnR>
                    <a:lnT>
                      <a:noFill/>
                    </a:lnT>
                    <a:lnB>
                      <a:noFill/>
                    </a:lnB>
                    <a:solidFill>
                      <a:srgbClr val="FBBDC0"/>
                    </a:solidFill>
                  </a:tcPr>
                </a:tc>
                <a:tc>
                  <a:txBody>
                    <a:bodyPr/>
                    <a:lstStyle/>
                    <a:p>
                      <a:pPr algn="ctr" fontAlgn="ctr"/>
                      <a:r>
                        <a:rPr lang="cs-CZ" sz="800" b="0" i="0" u="none" strike="noStrike">
                          <a:solidFill>
                            <a:srgbClr val="000000"/>
                          </a:solidFill>
                          <a:effectLst/>
                          <a:latin typeface="Calibri" panose="020F0502020204030204" pitchFamily="34" charset="0"/>
                        </a:rPr>
                        <a:t>3,6</a:t>
                      </a:r>
                    </a:p>
                  </a:txBody>
                  <a:tcPr marL="2833" marR="2833" marT="2833" marB="0" anchor="ctr">
                    <a:lnL>
                      <a:noFill/>
                    </a:lnL>
                    <a:lnR>
                      <a:noFill/>
                    </a:lnR>
                    <a:lnT>
                      <a:noFill/>
                    </a:lnT>
                    <a:lnB>
                      <a:noFill/>
                    </a:lnB>
                    <a:solidFill>
                      <a:srgbClr val="FBC7C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833" marR="2833" marT="2833" marB="0" anchor="ctr">
                    <a:lnL>
                      <a:noFill/>
                    </a:lnL>
                    <a:lnR>
                      <a:noFill/>
                    </a:lnR>
                    <a:lnT>
                      <a:noFill/>
                    </a:lnT>
                    <a:lnB>
                      <a:noFill/>
                    </a:lnB>
                    <a:solidFill>
                      <a:srgbClr val="FBBDBF"/>
                    </a:solidFill>
                  </a:tcPr>
                </a:tc>
                <a:tc>
                  <a:txBody>
                    <a:bodyPr/>
                    <a:lstStyle/>
                    <a:p>
                      <a:pPr algn="ctr" fontAlgn="ctr"/>
                      <a:r>
                        <a:rPr lang="cs-CZ" sz="800" b="0" i="0" u="none" strike="noStrike">
                          <a:solidFill>
                            <a:srgbClr val="000000"/>
                          </a:solidFill>
                          <a:effectLst/>
                          <a:latin typeface="Calibri" panose="020F0502020204030204" pitchFamily="34" charset="0"/>
                        </a:rPr>
                        <a:t>7,8</a:t>
                      </a:r>
                    </a:p>
                  </a:txBody>
                  <a:tcPr marL="2833" marR="2833" marT="2833" marB="0" anchor="ctr">
                    <a:lnL>
                      <a:noFill/>
                    </a:lnL>
                    <a:lnR>
                      <a:noFill/>
                    </a:lnR>
                    <a:lnT>
                      <a:noFill/>
                    </a:lnT>
                    <a:lnB>
                      <a:noFill/>
                    </a:lnB>
                    <a:solidFill>
                      <a:srgbClr val="F96E70"/>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833" marR="2833" marT="2833" marB="0" anchor="ctr">
                    <a:lnL>
                      <a:noFill/>
                    </a:lnL>
                    <a:lnR>
                      <a:noFill/>
                    </a:lnR>
                    <a:lnT>
                      <a:noFill/>
                    </a:lnT>
                    <a:lnB>
                      <a:noFill/>
                    </a:lnB>
                    <a:solidFill>
                      <a:srgbClr val="FAAEB1"/>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833" marR="2833" marT="2833"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2833" marR="2833" marT="2833" marB="0" anchor="ctr">
                    <a:lnL>
                      <a:noFill/>
                    </a:lnL>
                    <a:lnR>
                      <a:noFill/>
                    </a:lnR>
                    <a:lnT>
                      <a:noFill/>
                    </a:lnT>
                    <a:lnB>
                      <a:noFill/>
                    </a:lnB>
                    <a:solidFill>
                      <a:srgbClr val="FCECEF"/>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833" marR="2833" marT="2833"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2,9</a:t>
                      </a:r>
                    </a:p>
                  </a:txBody>
                  <a:tcPr marL="2833" marR="2833" marT="2833" marB="0" anchor="ctr">
                    <a:lnL>
                      <a:noFill/>
                    </a:lnL>
                    <a:lnR>
                      <a:noFill/>
                    </a:lnR>
                    <a:lnT>
                      <a:noFill/>
                    </a:lnT>
                    <a:lnB>
                      <a:noFill/>
                    </a:lnB>
                    <a:solidFill>
                      <a:srgbClr val="FBD6D9"/>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833" marR="2833" marT="2833"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2,6</a:t>
                      </a:r>
                    </a:p>
                  </a:txBody>
                  <a:tcPr marL="2833" marR="2833" marT="2833" marB="0" anchor="ctr">
                    <a:lnL>
                      <a:noFill/>
                    </a:lnL>
                    <a:lnR>
                      <a:noFill/>
                    </a:lnR>
                    <a:lnT>
                      <a:noFill/>
                    </a:lnT>
                    <a:lnB>
                      <a:noFill/>
                    </a:lnB>
                    <a:solidFill>
                      <a:srgbClr val="FCDADD"/>
                    </a:solidFill>
                  </a:tcPr>
                </a:tc>
                <a:tc>
                  <a:txBody>
                    <a:bodyPr/>
                    <a:lstStyle/>
                    <a:p>
                      <a:pPr algn="ctr" fontAlgn="ctr"/>
                      <a:r>
                        <a:rPr lang="cs-CZ" sz="800" b="0" i="0" u="none" strike="noStrike">
                          <a:solidFill>
                            <a:srgbClr val="000000"/>
                          </a:solidFill>
                          <a:effectLst/>
                          <a:latin typeface="Calibri" panose="020F0502020204030204" pitchFamily="34" charset="0"/>
                        </a:rPr>
                        <a:t>3,5</a:t>
                      </a:r>
                    </a:p>
                  </a:txBody>
                  <a:tcPr marL="2833" marR="2833" marT="2833" marB="0" anchor="ctr">
                    <a:lnL>
                      <a:noFill/>
                    </a:lnL>
                    <a:lnR>
                      <a:noFill/>
                    </a:lnR>
                    <a:lnT>
                      <a:noFill/>
                    </a:lnT>
                    <a:lnB>
                      <a:noFill/>
                    </a:lnB>
                    <a:solidFill>
                      <a:srgbClr val="FBC8CB"/>
                    </a:solidFill>
                  </a:tcPr>
                </a:tc>
                <a:tc>
                  <a:txBody>
                    <a:bodyPr/>
                    <a:lstStyle/>
                    <a:p>
                      <a:pPr algn="ctr" fontAlgn="ctr"/>
                      <a:r>
                        <a:rPr lang="cs-CZ" sz="800" b="0" i="0" u="none" strike="noStrike">
                          <a:solidFill>
                            <a:srgbClr val="000000"/>
                          </a:solidFill>
                          <a:effectLst/>
                          <a:latin typeface="Calibri" panose="020F0502020204030204" pitchFamily="34" charset="0"/>
                        </a:rPr>
                        <a:t>3,6</a:t>
                      </a:r>
                    </a:p>
                  </a:txBody>
                  <a:tcPr marL="2833" marR="2833" marT="2833" marB="0" anchor="ctr">
                    <a:lnL>
                      <a:noFill/>
                    </a:lnL>
                    <a:lnR>
                      <a:noFill/>
                    </a:lnR>
                    <a:lnT>
                      <a:noFill/>
                    </a:lnT>
                    <a:lnB>
                      <a:noFill/>
                    </a:lnB>
                    <a:solidFill>
                      <a:srgbClr val="FBC6C8"/>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833" marR="2833" marT="2833" marB="0" anchor="ctr">
                    <a:lnL>
                      <a:noFill/>
                    </a:lnL>
                    <a:lnR>
                      <a:noFill/>
                    </a:lnR>
                    <a:lnT>
                      <a:noFill/>
                    </a:lnT>
                    <a:lnB>
                      <a:noFill/>
                    </a:lnB>
                    <a:solidFill>
                      <a:srgbClr val="FBBDC0"/>
                    </a:solidFill>
                  </a:tcPr>
                </a:tc>
                <a:tc>
                  <a:txBody>
                    <a:bodyPr/>
                    <a:lstStyle/>
                    <a:p>
                      <a:pPr algn="ctr" fontAlgn="ctr"/>
                      <a:r>
                        <a:rPr lang="cs-CZ" sz="800" b="0" i="0" u="none" strike="noStrike" dirty="0">
                          <a:solidFill>
                            <a:srgbClr val="000000"/>
                          </a:solidFill>
                          <a:effectLst/>
                          <a:latin typeface="Calibri" panose="020F0502020204030204" pitchFamily="34" charset="0"/>
                        </a:rPr>
                        <a:t>3,4</a:t>
                      </a:r>
                    </a:p>
                  </a:txBody>
                  <a:tcPr marL="2833" marR="2833" marT="2833" marB="0" anchor="ctr">
                    <a:lnL>
                      <a:noFill/>
                    </a:lnL>
                    <a:lnR>
                      <a:noFill/>
                    </a:lnR>
                    <a:lnT>
                      <a:noFill/>
                    </a:lnT>
                    <a:lnB>
                      <a:noFill/>
                    </a:lnB>
                    <a:solidFill>
                      <a:srgbClr val="FBCACD"/>
                    </a:solidFill>
                  </a:tcPr>
                </a:tc>
                <a:extLst>
                  <a:ext uri="{0D108BD9-81ED-4DB2-BD59-A6C34878D82A}">
                    <a16:rowId xmlns:a16="http://schemas.microsoft.com/office/drawing/2014/main" val="680342318"/>
                  </a:ext>
                </a:extLst>
              </a:tr>
            </a:tbl>
          </a:graphicData>
        </a:graphic>
      </p:graphicFrame>
      <p:graphicFrame>
        <p:nvGraphicFramePr>
          <p:cNvPr id="16" name="Graf 12">
            <a:extLst>
              <a:ext uri="{FF2B5EF4-FFF2-40B4-BE49-F238E27FC236}">
                <a16:creationId xmlns:a16="http://schemas.microsoft.com/office/drawing/2014/main" id="{1272FB39-B69A-4209-8A6D-5FA328217601}"/>
              </a:ext>
            </a:extLst>
          </p:cNvPr>
          <p:cNvGraphicFramePr/>
          <p:nvPr>
            <p:extLst>
              <p:ext uri="{D42A27DB-BD31-4B8C-83A1-F6EECF244321}">
                <p14:modId xmlns:p14="http://schemas.microsoft.com/office/powerpoint/2010/main" val="3435682506"/>
              </p:ext>
            </p:extLst>
          </p:nvPr>
        </p:nvGraphicFramePr>
        <p:xfrm>
          <a:off x="485775" y="895350"/>
          <a:ext cx="11608237" cy="4632274"/>
        </p:xfrm>
        <a:graphic>
          <a:graphicData uri="http://schemas.openxmlformats.org/drawingml/2006/chart">
            <c:chart xmlns:c="http://schemas.openxmlformats.org/drawingml/2006/chart" xmlns:r="http://schemas.openxmlformats.org/officeDocument/2006/relationships" r:id="rId2"/>
          </a:graphicData>
        </a:graphic>
      </p:graphicFrame>
      <p:sp>
        <p:nvSpPr>
          <p:cNvPr id="17" name="Obdélník 13">
            <a:extLst>
              <a:ext uri="{FF2B5EF4-FFF2-40B4-BE49-F238E27FC236}">
                <a16:creationId xmlns:a16="http://schemas.microsoft.com/office/drawing/2014/main" id="{7D143CDF-A647-4BC2-8AA1-54808788CC93}"/>
              </a:ext>
            </a:extLst>
          </p:cNvPr>
          <p:cNvSpPr/>
          <p:nvPr/>
        </p:nvSpPr>
        <p:spPr>
          <a:xfrm>
            <a:off x="485775" y="695288"/>
            <a:ext cx="11458575" cy="369332"/>
          </a:xfrm>
          <a:prstGeom prst="rect">
            <a:avLst/>
          </a:prstGeom>
        </p:spPr>
        <p:txBody>
          <a:bodyPr wrap="square">
            <a:spAutoFit/>
          </a:bodyPr>
          <a:lstStyle/>
          <a:p>
            <a:pPr algn="ctr" fontAlgn="b"/>
            <a:r>
              <a:rPr lang="cs-CZ" b="1" dirty="0">
                <a:solidFill>
                  <a:srgbClr val="000000"/>
                </a:solidFill>
                <a:latin typeface="Calibri" panose="020F0502020204030204" pitchFamily="34" charset="0"/>
              </a:rPr>
              <a:t>Počet zařazených osob</a:t>
            </a:r>
          </a:p>
        </p:txBody>
      </p:sp>
      <p:graphicFrame>
        <p:nvGraphicFramePr>
          <p:cNvPr id="18" name="Tabulka 14">
            <a:extLst>
              <a:ext uri="{FF2B5EF4-FFF2-40B4-BE49-F238E27FC236}">
                <a16:creationId xmlns:a16="http://schemas.microsoft.com/office/drawing/2014/main" id="{29F2181F-FF52-4DC8-8328-8CC0C56269EF}"/>
              </a:ext>
            </a:extLst>
          </p:cNvPr>
          <p:cNvGraphicFramePr>
            <a:graphicFrameLocks noGrp="1"/>
          </p:cNvGraphicFramePr>
          <p:nvPr>
            <p:extLst>
              <p:ext uri="{D42A27DB-BD31-4B8C-83A1-F6EECF244321}">
                <p14:modId xmlns:p14="http://schemas.microsoft.com/office/powerpoint/2010/main" val="4007334938"/>
              </p:ext>
            </p:extLst>
          </p:nvPr>
        </p:nvGraphicFramePr>
        <p:xfrm>
          <a:off x="90905" y="5527624"/>
          <a:ext cx="11853445" cy="731520"/>
        </p:xfrm>
        <a:graphic>
          <a:graphicData uri="http://schemas.openxmlformats.org/drawingml/2006/table">
            <a:tbl>
              <a:tblPr/>
              <a:tblGrid>
                <a:gridCol w="921848">
                  <a:extLst>
                    <a:ext uri="{9D8B030D-6E8A-4147-A177-3AD203B41FA5}">
                      <a16:colId xmlns:a16="http://schemas.microsoft.com/office/drawing/2014/main" val="1358248019"/>
                    </a:ext>
                  </a:extLst>
                </a:gridCol>
                <a:gridCol w="650960">
                  <a:extLst>
                    <a:ext uri="{9D8B030D-6E8A-4147-A177-3AD203B41FA5}">
                      <a16:colId xmlns:a16="http://schemas.microsoft.com/office/drawing/2014/main" val="4227063480"/>
                    </a:ext>
                  </a:extLst>
                </a:gridCol>
                <a:gridCol w="650960">
                  <a:extLst>
                    <a:ext uri="{9D8B030D-6E8A-4147-A177-3AD203B41FA5}">
                      <a16:colId xmlns:a16="http://schemas.microsoft.com/office/drawing/2014/main" val="4235552383"/>
                    </a:ext>
                  </a:extLst>
                </a:gridCol>
                <a:gridCol w="650960">
                  <a:extLst>
                    <a:ext uri="{9D8B030D-6E8A-4147-A177-3AD203B41FA5}">
                      <a16:colId xmlns:a16="http://schemas.microsoft.com/office/drawing/2014/main" val="4039418599"/>
                    </a:ext>
                  </a:extLst>
                </a:gridCol>
                <a:gridCol w="650960">
                  <a:extLst>
                    <a:ext uri="{9D8B030D-6E8A-4147-A177-3AD203B41FA5}">
                      <a16:colId xmlns:a16="http://schemas.microsoft.com/office/drawing/2014/main" val="871778667"/>
                    </a:ext>
                  </a:extLst>
                </a:gridCol>
                <a:gridCol w="650960">
                  <a:extLst>
                    <a:ext uri="{9D8B030D-6E8A-4147-A177-3AD203B41FA5}">
                      <a16:colId xmlns:a16="http://schemas.microsoft.com/office/drawing/2014/main" val="1978385625"/>
                    </a:ext>
                  </a:extLst>
                </a:gridCol>
                <a:gridCol w="650960">
                  <a:extLst>
                    <a:ext uri="{9D8B030D-6E8A-4147-A177-3AD203B41FA5}">
                      <a16:colId xmlns:a16="http://schemas.microsoft.com/office/drawing/2014/main" val="884251675"/>
                    </a:ext>
                  </a:extLst>
                </a:gridCol>
                <a:gridCol w="7025837">
                  <a:extLst>
                    <a:ext uri="{9D8B030D-6E8A-4147-A177-3AD203B41FA5}">
                      <a16:colId xmlns:a16="http://schemas.microsoft.com/office/drawing/2014/main" val="862320679"/>
                    </a:ext>
                  </a:extLst>
                </a:gridCol>
              </a:tblGrid>
              <a:tr h="118656">
                <a:tc>
                  <a:txBody>
                    <a:bodyPr/>
                    <a:lstStyle/>
                    <a:p>
                      <a:pPr algn="r" fontAlgn="ctr"/>
                      <a:r>
                        <a:rPr lang="cs-CZ" sz="1200" b="1" i="1" u="none" strike="noStrike" dirty="0">
                          <a:solidFill>
                            <a:srgbClr val="000000"/>
                          </a:solidFill>
                          <a:effectLst/>
                          <a:latin typeface="Calibri" panose="020F0502020204030204" pitchFamily="34" charset="0"/>
                        </a:rPr>
                        <a:t>Počet </a:t>
                      </a:r>
                      <a:r>
                        <a:rPr lang="cs-CZ" sz="1200" b="1" i="1" u="none" strike="noStrike" baseline="0" dirty="0">
                          <a:solidFill>
                            <a:srgbClr val="000000"/>
                          </a:solidFill>
                          <a:effectLst/>
                          <a:latin typeface="Calibri" panose="020F0502020204030204" pitchFamily="34" charset="0"/>
                        </a:rPr>
                        <a:t> ohnisek</a:t>
                      </a:r>
                      <a:r>
                        <a:rPr lang="cs-CZ" sz="1200" b="1" i="1" u="none" strike="noStrike" dirty="0">
                          <a:solidFill>
                            <a:srgbClr val="000000"/>
                          </a:solidFill>
                          <a:effectLst/>
                          <a:latin typeface="Calibri" panose="020F0502020204030204" pitchFamily="34" charset="0"/>
                        </a:rPr>
                        <a:t>:</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r h="118656">
                <a:tc>
                  <a:txBody>
                    <a:bodyPr/>
                    <a:lstStyle/>
                    <a:p>
                      <a:pPr algn="r" fontAlgn="ctr"/>
                      <a:r>
                        <a:rPr lang="cs-CZ" sz="1200" b="0" i="0" u="none" strike="noStrike" dirty="0">
                          <a:solidFill>
                            <a:srgbClr val="000000"/>
                          </a:solidFill>
                          <a:effectLst/>
                          <a:latin typeface="Calibri" panose="020F0502020204030204" pitchFamily="34" charset="0"/>
                        </a:rPr>
                        <a:t>Počet osob na ohnisko:</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9955740"/>
                  </a:ext>
                </a:extLst>
              </a:tr>
            </a:tbl>
          </a:graphicData>
        </a:graphic>
      </p:graphicFrame>
      <p:sp>
        <p:nvSpPr>
          <p:cNvPr id="2" name="Nadpis 1">
            <a:extLst>
              <a:ext uri="{FF2B5EF4-FFF2-40B4-BE49-F238E27FC236}">
                <a16:creationId xmlns:a16="http://schemas.microsoft.com/office/drawing/2014/main" id="{52431848-192E-4F04-A0BC-102B082D0963}"/>
              </a:ext>
            </a:extLst>
          </p:cNvPr>
          <p:cNvSpPr>
            <a:spLocks noGrp="1"/>
          </p:cNvSpPr>
          <p:nvPr>
            <p:ph type="title"/>
          </p:nvPr>
        </p:nvSpPr>
        <p:spPr>
          <a:xfrm>
            <a:off x="190492" y="16373"/>
            <a:ext cx="7435177" cy="576000"/>
          </a:xfrm>
        </p:spPr>
        <p:txBody>
          <a:bodyPr>
            <a:noAutofit/>
          </a:bodyPr>
          <a:lstStyle/>
          <a:p>
            <a:r>
              <a:rPr lang="cs-CZ" dirty="0"/>
              <a:t>Školská zařízení jako ohniska nákazy COVID-19</a:t>
            </a:r>
          </a:p>
        </p:txBody>
      </p:sp>
      <p:sp>
        <p:nvSpPr>
          <p:cNvPr id="10" name="TextovéPole 9">
            <a:extLst>
              <a:ext uri="{FF2B5EF4-FFF2-40B4-BE49-F238E27FC236}">
                <a16:creationId xmlns:a16="http://schemas.microsoft.com/office/drawing/2014/main" id="{989E3A38-1993-4E29-9737-27F60FB793AB}"/>
              </a:ext>
            </a:extLst>
          </p:cNvPr>
          <p:cNvSpPr txBox="1"/>
          <p:nvPr/>
        </p:nvSpPr>
        <p:spPr>
          <a:xfrm>
            <a:off x="8546471" y="6516527"/>
            <a:ext cx="3547541" cy="276999"/>
          </a:xfrm>
          <a:prstGeom prst="rect">
            <a:avLst/>
          </a:prstGeom>
          <a:noFill/>
        </p:spPr>
        <p:txBody>
          <a:bodyPr wrap="square" rtlCol="0">
            <a:spAutoFit/>
          </a:bodyPr>
          <a:lstStyle/>
          <a:p>
            <a:pPr algn="ctr"/>
            <a:r>
              <a:rPr lang="cs-CZ" sz="1200" dirty="0"/>
              <a:t>Zdroj: </a:t>
            </a:r>
            <a:r>
              <a:rPr lang="cs-CZ" sz="1200" dirty="0" err="1"/>
              <a:t>Covid</a:t>
            </a:r>
            <a:r>
              <a:rPr lang="cs-CZ" sz="1200" dirty="0"/>
              <a:t> </a:t>
            </a:r>
            <a:r>
              <a:rPr lang="cs-CZ" sz="1200" dirty="0" err="1"/>
              <a:t>Forms</a:t>
            </a:r>
            <a:r>
              <a:rPr lang="cs-CZ" sz="1200" dirty="0"/>
              <a:t> – Události, </a:t>
            </a:r>
            <a:r>
              <a:rPr lang="cs-CZ" sz="1200" b="1" dirty="0">
                <a:solidFill>
                  <a:srgbClr val="C00000"/>
                </a:solidFill>
              </a:rPr>
              <a:t>stav k 4. 6. 2021</a:t>
            </a:r>
          </a:p>
        </p:txBody>
      </p:sp>
      <p:sp>
        <p:nvSpPr>
          <p:cNvPr id="9" name="Obdélník 8">
            <a:extLst>
              <a:ext uri="{FF2B5EF4-FFF2-40B4-BE49-F238E27FC236}">
                <a16:creationId xmlns:a16="http://schemas.microsoft.com/office/drawing/2014/main" id="{DCCEC6B4-BD0B-4FDC-ADB9-2EDFB3011231}"/>
              </a:ext>
            </a:extLst>
          </p:cNvPr>
          <p:cNvSpPr/>
          <p:nvPr/>
        </p:nvSpPr>
        <p:spPr>
          <a:xfrm>
            <a:off x="90905" y="653188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Obdélník 10">
            <a:extLst>
              <a:ext uri="{FF2B5EF4-FFF2-40B4-BE49-F238E27FC236}">
                <a16:creationId xmlns:a16="http://schemas.microsoft.com/office/drawing/2014/main" id="{38366085-DF55-44A3-8F31-7FB38396D215}"/>
              </a:ext>
            </a:extLst>
          </p:cNvPr>
          <p:cNvSpPr/>
          <p:nvPr/>
        </p:nvSpPr>
        <p:spPr>
          <a:xfrm>
            <a:off x="11695587" y="5116380"/>
            <a:ext cx="243978" cy="276999"/>
          </a:xfrm>
          <a:prstGeom prst="rect">
            <a:avLst/>
          </a:prstGeom>
        </p:spPr>
        <p:txBody>
          <a:bodyPr wrap="none">
            <a:spAutoFit/>
          </a:bodyPr>
          <a:lstStyle/>
          <a:p>
            <a:r>
              <a:rPr lang="cs-CZ" sz="1200" dirty="0">
                <a:solidFill>
                  <a:srgbClr val="000000"/>
                </a:solidFill>
              </a:rPr>
              <a:t>*</a:t>
            </a:r>
            <a:endParaRPr lang="cs-CZ" dirty="0"/>
          </a:p>
        </p:txBody>
      </p:sp>
      <p:sp>
        <p:nvSpPr>
          <p:cNvPr id="12" name="Obdélník 11">
            <a:extLst>
              <a:ext uri="{FF2B5EF4-FFF2-40B4-BE49-F238E27FC236}">
                <a16:creationId xmlns:a16="http://schemas.microsoft.com/office/drawing/2014/main" id="{29A5BF61-0DD0-43D2-BF59-6FC5D5A06220}"/>
              </a:ext>
            </a:extLst>
          </p:cNvPr>
          <p:cNvSpPr/>
          <p:nvPr/>
        </p:nvSpPr>
        <p:spPr>
          <a:xfrm>
            <a:off x="10937460" y="1510787"/>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Tree>
    <p:extLst>
      <p:ext uri="{BB962C8B-B14F-4D97-AF65-F5344CB8AC3E}">
        <p14:creationId xmlns:p14="http://schemas.microsoft.com/office/powerpoint/2010/main" val="36883150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96288329-E2BC-40D4-A61F-FC4BD972F41D}"/>
              </a:ext>
            </a:extLst>
          </p:cNvPr>
          <p:cNvGraphicFramePr>
            <a:graphicFrameLocks noGrp="1"/>
          </p:cNvGraphicFramePr>
          <p:nvPr>
            <p:extLst>
              <p:ext uri="{D42A27DB-BD31-4B8C-83A1-F6EECF244321}">
                <p14:modId xmlns:p14="http://schemas.microsoft.com/office/powerpoint/2010/main" val="1690950202"/>
              </p:ext>
            </p:extLst>
          </p:nvPr>
        </p:nvGraphicFramePr>
        <p:xfrm>
          <a:off x="8362949" y="1271505"/>
          <a:ext cx="771525" cy="5022936"/>
        </p:xfrm>
        <a:graphic>
          <a:graphicData uri="http://schemas.openxmlformats.org/drawingml/2006/table">
            <a:tbl>
              <a:tblPr/>
              <a:tblGrid>
                <a:gridCol w="771525">
                  <a:extLst>
                    <a:ext uri="{9D8B030D-6E8A-4147-A177-3AD203B41FA5}">
                      <a16:colId xmlns:a16="http://schemas.microsoft.com/office/drawing/2014/main" val="3350358495"/>
                    </a:ext>
                  </a:extLst>
                </a:gridCol>
              </a:tblGrid>
              <a:tr h="279052">
                <a:tc>
                  <a:txBody>
                    <a:bodyPr/>
                    <a:lstStyle/>
                    <a:p>
                      <a:pPr algn="ctr" fontAlgn="ctr"/>
                      <a:endParaRPr lang="cs-CZ" sz="1100" b="0" i="1"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8FB"/>
                    </a:solidFill>
                  </a:tcPr>
                </a:tc>
                <a:extLst>
                  <a:ext uri="{0D108BD9-81ED-4DB2-BD59-A6C34878D82A}">
                    <a16:rowId xmlns:a16="http://schemas.microsoft.com/office/drawing/2014/main" val="2745089617"/>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61753108"/>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DEF"/>
                    </a:solidFill>
                  </a:tcPr>
                </a:tc>
                <a:extLst>
                  <a:ext uri="{0D108BD9-81ED-4DB2-BD59-A6C34878D82A}">
                    <a16:rowId xmlns:a16="http://schemas.microsoft.com/office/drawing/2014/main" val="962602329"/>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AED"/>
                    </a:solidFill>
                  </a:tcPr>
                </a:tc>
                <a:extLst>
                  <a:ext uri="{0D108BD9-81ED-4DB2-BD59-A6C34878D82A}">
                    <a16:rowId xmlns:a16="http://schemas.microsoft.com/office/drawing/2014/main" val="2723194007"/>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1A4"/>
                    </a:solidFill>
                  </a:tcPr>
                </a:tc>
                <a:extLst>
                  <a:ext uri="{0D108BD9-81ED-4DB2-BD59-A6C34878D82A}">
                    <a16:rowId xmlns:a16="http://schemas.microsoft.com/office/drawing/2014/main" val="1632452533"/>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5F8"/>
                    </a:solidFill>
                  </a:tcPr>
                </a:tc>
                <a:extLst>
                  <a:ext uri="{0D108BD9-81ED-4DB2-BD59-A6C34878D82A}">
                    <a16:rowId xmlns:a16="http://schemas.microsoft.com/office/drawing/2014/main" val="3524787910"/>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DEF"/>
                    </a:solidFill>
                  </a:tcPr>
                </a:tc>
                <a:extLst>
                  <a:ext uri="{0D108BD9-81ED-4DB2-BD59-A6C34878D82A}">
                    <a16:rowId xmlns:a16="http://schemas.microsoft.com/office/drawing/2014/main" val="1958620023"/>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6F9"/>
                    </a:solidFill>
                  </a:tcPr>
                </a:tc>
                <a:extLst>
                  <a:ext uri="{0D108BD9-81ED-4DB2-BD59-A6C34878D82A}">
                    <a16:rowId xmlns:a16="http://schemas.microsoft.com/office/drawing/2014/main" val="1115574852"/>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4F7"/>
                    </a:solidFill>
                  </a:tcPr>
                </a:tc>
                <a:extLst>
                  <a:ext uri="{0D108BD9-81ED-4DB2-BD59-A6C34878D82A}">
                    <a16:rowId xmlns:a16="http://schemas.microsoft.com/office/drawing/2014/main" val="2419898660"/>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extLst>
                  <a:ext uri="{0D108BD9-81ED-4DB2-BD59-A6C34878D82A}">
                    <a16:rowId xmlns:a16="http://schemas.microsoft.com/office/drawing/2014/main" val="2365323731"/>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7FA"/>
                    </a:solidFill>
                  </a:tcPr>
                </a:tc>
                <a:extLst>
                  <a:ext uri="{0D108BD9-81ED-4DB2-BD59-A6C34878D82A}">
                    <a16:rowId xmlns:a16="http://schemas.microsoft.com/office/drawing/2014/main" val="259596010"/>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6F9"/>
                    </a:solidFill>
                  </a:tcPr>
                </a:tc>
                <a:extLst>
                  <a:ext uri="{0D108BD9-81ED-4DB2-BD59-A6C34878D82A}">
                    <a16:rowId xmlns:a16="http://schemas.microsoft.com/office/drawing/2014/main" val="775861260"/>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6F9"/>
                    </a:solidFill>
                  </a:tcPr>
                </a:tc>
                <a:extLst>
                  <a:ext uri="{0D108BD9-81ED-4DB2-BD59-A6C34878D82A}">
                    <a16:rowId xmlns:a16="http://schemas.microsoft.com/office/drawing/2014/main" val="3317737361"/>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9FC"/>
                    </a:solidFill>
                  </a:tcPr>
                </a:tc>
                <a:extLst>
                  <a:ext uri="{0D108BD9-81ED-4DB2-BD59-A6C34878D82A}">
                    <a16:rowId xmlns:a16="http://schemas.microsoft.com/office/drawing/2014/main" val="3786701860"/>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717585267"/>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2267928317"/>
                  </a:ext>
                </a:extLst>
              </a:tr>
              <a:tr h="279052">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9FC"/>
                    </a:solidFill>
                  </a:tcPr>
                </a:tc>
                <a:extLst>
                  <a:ext uri="{0D108BD9-81ED-4DB2-BD59-A6C34878D82A}">
                    <a16:rowId xmlns:a16="http://schemas.microsoft.com/office/drawing/2014/main" val="2229757485"/>
                  </a:ext>
                </a:extLst>
              </a:tr>
              <a:tr h="279052">
                <a:tc>
                  <a:txBody>
                    <a:bodyPr/>
                    <a:lstStyle/>
                    <a:p>
                      <a:pPr algn="ctr" fontAlgn="ctr"/>
                      <a:endParaRPr lang="cs-CZ" sz="1100" b="0" i="1"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extLst>
                  <a:ext uri="{0D108BD9-81ED-4DB2-BD59-A6C34878D82A}">
                    <a16:rowId xmlns:a16="http://schemas.microsoft.com/office/drawing/2014/main" val="3302815107"/>
                  </a:ext>
                </a:extLst>
              </a:tr>
            </a:tbl>
          </a:graphicData>
        </a:graphic>
      </p:graphicFrame>
      <p:sp>
        <p:nvSpPr>
          <p:cNvPr id="2" name="Nadpis 1">
            <a:extLst>
              <a:ext uri="{FF2B5EF4-FFF2-40B4-BE49-F238E27FC236}">
                <a16:creationId xmlns:a16="http://schemas.microsoft.com/office/drawing/2014/main" id="{52431848-192E-4F04-A0BC-102B082D0963}"/>
              </a:ext>
            </a:extLst>
          </p:cNvPr>
          <p:cNvSpPr>
            <a:spLocks noGrp="1"/>
          </p:cNvSpPr>
          <p:nvPr>
            <p:ph type="title"/>
          </p:nvPr>
        </p:nvSpPr>
        <p:spPr>
          <a:xfrm>
            <a:off x="190492" y="16373"/>
            <a:ext cx="7435177" cy="576000"/>
          </a:xfrm>
        </p:spPr>
        <p:txBody>
          <a:bodyPr>
            <a:noAutofit/>
          </a:bodyPr>
          <a:lstStyle/>
          <a:p>
            <a:r>
              <a:rPr lang="cs-CZ" dirty="0"/>
              <a:t>Události řešené od 1. ledna 2021 – celá ČR</a:t>
            </a:r>
          </a:p>
        </p:txBody>
      </p:sp>
      <p:sp>
        <p:nvSpPr>
          <p:cNvPr id="8" name="TextovéPole 7">
            <a:extLst>
              <a:ext uri="{FF2B5EF4-FFF2-40B4-BE49-F238E27FC236}">
                <a16:creationId xmlns:a16="http://schemas.microsoft.com/office/drawing/2014/main" id="{29427E6E-3A6B-43D1-9440-0C6EC427A002}"/>
              </a:ext>
            </a:extLst>
          </p:cNvPr>
          <p:cNvSpPr txBox="1"/>
          <p:nvPr/>
        </p:nvSpPr>
        <p:spPr>
          <a:xfrm>
            <a:off x="1885951" y="6516527"/>
            <a:ext cx="6372224" cy="276999"/>
          </a:xfrm>
          <a:prstGeom prst="rect">
            <a:avLst/>
          </a:prstGeom>
          <a:noFill/>
        </p:spPr>
        <p:txBody>
          <a:bodyPr wrap="square" rtlCol="0">
            <a:spAutoFit/>
          </a:bodyPr>
          <a:lstStyle/>
          <a:p>
            <a:pPr algn="ctr"/>
            <a:r>
              <a:rPr lang="cs-CZ" sz="1200" dirty="0"/>
              <a:t>Zdroj: </a:t>
            </a:r>
            <a:r>
              <a:rPr lang="cs-CZ" sz="1200" dirty="0" err="1"/>
              <a:t>Covid</a:t>
            </a:r>
            <a:r>
              <a:rPr lang="cs-CZ" sz="1200" dirty="0"/>
              <a:t> </a:t>
            </a:r>
            <a:r>
              <a:rPr lang="cs-CZ" sz="1200" dirty="0" err="1"/>
              <a:t>Forms</a:t>
            </a:r>
            <a:r>
              <a:rPr lang="cs-CZ" sz="1200" dirty="0"/>
              <a:t> – Události, </a:t>
            </a:r>
            <a:r>
              <a:rPr lang="cs-CZ" sz="1200" b="1" dirty="0">
                <a:solidFill>
                  <a:srgbClr val="C00000"/>
                </a:solidFill>
              </a:rPr>
              <a:t>stav k 4. 6. 2021</a:t>
            </a:r>
          </a:p>
        </p:txBody>
      </p:sp>
      <p:graphicFrame>
        <p:nvGraphicFramePr>
          <p:cNvPr id="11" name="Tabulka 10">
            <a:extLst>
              <a:ext uri="{FF2B5EF4-FFF2-40B4-BE49-F238E27FC236}">
                <a16:creationId xmlns:a16="http://schemas.microsoft.com/office/drawing/2014/main" id="{9BBD9E46-B73C-4D55-B3FF-5B126E391E80}"/>
              </a:ext>
            </a:extLst>
          </p:cNvPr>
          <p:cNvGraphicFramePr>
            <a:graphicFrameLocks noGrp="1"/>
          </p:cNvGraphicFramePr>
          <p:nvPr>
            <p:extLst>
              <p:ext uri="{D42A27DB-BD31-4B8C-83A1-F6EECF244321}">
                <p14:modId xmlns:p14="http://schemas.microsoft.com/office/powerpoint/2010/main" val="3153773049"/>
              </p:ext>
            </p:extLst>
          </p:nvPr>
        </p:nvGraphicFramePr>
        <p:xfrm>
          <a:off x="1885951" y="830294"/>
          <a:ext cx="7794665" cy="5464139"/>
        </p:xfrm>
        <a:graphic>
          <a:graphicData uri="http://schemas.openxmlformats.org/drawingml/2006/table">
            <a:tbl>
              <a:tblPr/>
              <a:tblGrid>
                <a:gridCol w="2235809">
                  <a:extLst>
                    <a:ext uri="{9D8B030D-6E8A-4147-A177-3AD203B41FA5}">
                      <a16:colId xmlns:a16="http://schemas.microsoft.com/office/drawing/2014/main" val="203849754"/>
                    </a:ext>
                  </a:extLst>
                </a:gridCol>
                <a:gridCol w="1852952">
                  <a:extLst>
                    <a:ext uri="{9D8B030D-6E8A-4147-A177-3AD203B41FA5}">
                      <a16:colId xmlns:a16="http://schemas.microsoft.com/office/drawing/2014/main" val="582286152"/>
                    </a:ext>
                  </a:extLst>
                </a:gridCol>
                <a:gridCol w="1852952">
                  <a:extLst>
                    <a:ext uri="{9D8B030D-6E8A-4147-A177-3AD203B41FA5}">
                      <a16:colId xmlns:a16="http://schemas.microsoft.com/office/drawing/2014/main" val="1533981781"/>
                    </a:ext>
                  </a:extLst>
                </a:gridCol>
                <a:gridCol w="1852952">
                  <a:extLst>
                    <a:ext uri="{9D8B030D-6E8A-4147-A177-3AD203B41FA5}">
                      <a16:colId xmlns:a16="http://schemas.microsoft.com/office/drawing/2014/main" val="1571505390"/>
                    </a:ext>
                  </a:extLst>
                </a:gridCol>
              </a:tblGrid>
              <a:tr h="437855">
                <a:tc>
                  <a:txBody>
                    <a:bodyPr/>
                    <a:lstStyle/>
                    <a:p>
                      <a:pPr algn="l" fontAlgn="ctr"/>
                      <a:r>
                        <a:rPr lang="cs-CZ" sz="1400" b="1" i="0" u="none" strike="noStrike">
                          <a:solidFill>
                            <a:srgbClr val="000000"/>
                          </a:solidFill>
                          <a:effectLst/>
                          <a:latin typeface="Calibri" panose="020F0502020204030204" pitchFamily="34" charset="0"/>
                        </a:rPr>
                        <a:t>Typ události</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Počet nakažených</a:t>
                      </a:r>
                    </a:p>
                    <a:p>
                      <a:pPr algn="ctr" fontAlgn="ctr"/>
                      <a:r>
                        <a:rPr lang="cs-CZ" sz="1400" b="1" i="0" u="none" strike="noStrike" dirty="0">
                          <a:solidFill>
                            <a:srgbClr val="000000"/>
                          </a:solidFill>
                          <a:effectLst/>
                          <a:latin typeface="Calibri" panose="020F0502020204030204" pitchFamily="34" charset="0"/>
                        </a:rPr>
                        <a:t>(aktuálně řešené)</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Počet událost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aktuálně řešené)</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1" u="none" strike="noStrike" dirty="0">
                          <a:solidFill>
                            <a:srgbClr val="000000"/>
                          </a:solidFill>
                          <a:effectLst/>
                          <a:latin typeface="Calibri" panose="020F0502020204030204" pitchFamily="34" charset="0"/>
                        </a:rPr>
                        <a:t>Počet osob na událos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613593877"/>
                  </a:ext>
                </a:extLst>
              </a:tr>
              <a:tr h="279238">
                <a:tc>
                  <a:txBody>
                    <a:bodyPr/>
                    <a:lstStyle/>
                    <a:p>
                      <a:pPr algn="l" fontAlgn="ctr"/>
                      <a:r>
                        <a:rPr lang="cs-CZ" sz="14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 042 (1 591)</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320 (190)</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0,8</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5736721"/>
                  </a:ext>
                </a:extLst>
              </a:tr>
              <a:tr h="279238">
                <a:tc>
                  <a:txBody>
                    <a:bodyPr/>
                    <a:lstStyle/>
                    <a:p>
                      <a:pPr algn="l" fontAlgn="ctr"/>
                      <a:r>
                        <a:rPr lang="cs-CZ" sz="1400" b="1" i="0" u="none" strike="noStrike" dirty="0">
                          <a:solidFill>
                            <a:srgbClr val="C00000"/>
                          </a:solidFill>
                          <a:effectLst/>
                          <a:latin typeface="Calibri" panose="020F0502020204030204" pitchFamily="34" charset="0"/>
                        </a:rPr>
                        <a:t>Školské zařízení</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6 869 (397)</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1 581 (137)</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1" u="none" strike="noStrike" dirty="0">
                          <a:solidFill>
                            <a:srgbClr val="C00000"/>
                          </a:solidFill>
                          <a:effectLst/>
                          <a:latin typeface="Calibri" panose="020F0502020204030204" pitchFamily="34" charset="0"/>
                        </a:rPr>
                        <a:t>4,3</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30131732"/>
                  </a:ext>
                </a:extLst>
              </a:tr>
              <a:tr h="279238">
                <a:tc>
                  <a:txBody>
                    <a:bodyPr/>
                    <a:lstStyle/>
                    <a:p>
                      <a:pPr algn="l" fontAlgn="ctr"/>
                      <a:r>
                        <a:rPr lang="cs-CZ" sz="1400" b="1" i="0" u="none" strike="noStrike">
                          <a:solidFill>
                            <a:srgbClr val="000000"/>
                          </a:solidFill>
                          <a:effectLst/>
                          <a:latin typeface="Calibri" panose="020F0502020204030204" pitchFamily="34" charset="0"/>
                        </a:rPr>
                        <a:t>Zařízení sociálních služeb</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276 (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49 (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5,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31287213"/>
                  </a:ext>
                </a:extLst>
              </a:tr>
              <a:tr h="279238">
                <a:tc>
                  <a:txBody>
                    <a:bodyPr/>
                    <a:lstStyle/>
                    <a:p>
                      <a:pPr algn="l" fontAlgn="ctr"/>
                      <a:r>
                        <a:rPr lang="cs-CZ" sz="1400" b="1" i="0" u="none" strike="noStrike">
                          <a:solidFill>
                            <a:srgbClr val="000000"/>
                          </a:solidFill>
                          <a:effectLst/>
                          <a:latin typeface="Calibri" panose="020F0502020204030204" pitchFamily="34" charset="0"/>
                        </a:rPr>
                        <a:t>Výrobní závod</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639 (60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6 (1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8,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07300411"/>
                  </a:ext>
                </a:extLst>
              </a:tr>
              <a:tr h="279238">
                <a:tc>
                  <a:txBody>
                    <a:bodyPr/>
                    <a:lstStyle/>
                    <a:p>
                      <a:pPr algn="l" fontAlgn="ctr"/>
                      <a:r>
                        <a:rPr lang="cs-CZ" sz="1400" b="1" i="0" u="none" strike="noStrike">
                          <a:solidFill>
                            <a:srgbClr val="000000"/>
                          </a:solidFill>
                          <a:effectLst/>
                          <a:latin typeface="Calibri" panose="020F0502020204030204" pitchFamily="34" charset="0"/>
                        </a:rPr>
                        <a:t>Vězni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711 (5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 (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23,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78510886"/>
                  </a:ext>
                </a:extLst>
              </a:tr>
              <a:tr h="279238">
                <a:tc>
                  <a:txBody>
                    <a:bodyPr/>
                    <a:lstStyle/>
                    <a:p>
                      <a:pPr algn="l" fontAlgn="ctr"/>
                      <a:r>
                        <a:rPr lang="cs-CZ" sz="1400" b="1" i="0" u="none" strike="noStrike">
                          <a:solidFill>
                            <a:srgbClr val="000000"/>
                          </a:solidFill>
                          <a:effectLst/>
                          <a:latin typeface="Calibri" panose="020F0502020204030204" pitchFamily="34" charset="0"/>
                        </a:rPr>
                        <a:t>Pracoviště</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745 (9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3 (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4,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61537521"/>
                  </a:ext>
                </a:extLst>
              </a:tr>
              <a:tr h="279238">
                <a:tc>
                  <a:txBody>
                    <a:bodyPr/>
                    <a:lstStyle/>
                    <a:p>
                      <a:pPr algn="l" fontAlgn="ctr"/>
                      <a:r>
                        <a:rPr lang="cs-CZ" sz="1400" b="1" i="0" u="none" strike="noStrike">
                          <a:solidFill>
                            <a:srgbClr val="000000"/>
                          </a:solidFill>
                          <a:effectLst/>
                          <a:latin typeface="Calibri" panose="020F0502020204030204" pitchFamily="34" charset="0"/>
                        </a:rPr>
                        <a:t>Zdravotnické zařízen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730 (9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9 (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5,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98714489"/>
                  </a:ext>
                </a:extLst>
              </a:tr>
              <a:tr h="279238">
                <a:tc>
                  <a:txBody>
                    <a:bodyPr/>
                    <a:lstStyle/>
                    <a:p>
                      <a:pPr algn="l" fontAlgn="ctr"/>
                      <a:r>
                        <a:rPr lang="cs-CZ" sz="1400" b="1" i="0" u="none" strike="noStrike">
                          <a:solidFill>
                            <a:srgbClr val="000000"/>
                          </a:solidFill>
                          <a:effectLst/>
                          <a:latin typeface="Calibri" panose="020F0502020204030204" pitchFamily="34" charset="0"/>
                        </a:rPr>
                        <a:t>Dětské domovy</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26 (1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0 (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1173336"/>
                  </a:ext>
                </a:extLst>
              </a:tr>
              <a:tr h="279238">
                <a:tc>
                  <a:txBody>
                    <a:bodyPr/>
                    <a:lstStyle/>
                    <a:p>
                      <a:pPr algn="l" fontAlgn="ctr"/>
                      <a:r>
                        <a:rPr lang="cs-CZ" sz="1400" b="1" i="0" u="none" strike="noStrike">
                          <a:solidFill>
                            <a:srgbClr val="000000"/>
                          </a:solidFill>
                          <a:effectLst/>
                          <a:latin typeface="Calibri" panose="020F0502020204030204" pitchFamily="34" charset="0"/>
                        </a:rPr>
                        <a:t>Ubytovac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74 (6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2 (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4,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44307753"/>
                  </a:ext>
                </a:extLst>
              </a:tr>
              <a:tr h="279238">
                <a:tc>
                  <a:txBody>
                    <a:bodyPr/>
                    <a:lstStyle/>
                    <a:p>
                      <a:pPr algn="l" fontAlgn="ctr"/>
                      <a:r>
                        <a:rPr lang="cs-CZ" sz="1400" b="1" i="0" u="none" strike="noStrike">
                          <a:solidFill>
                            <a:srgbClr val="000000"/>
                          </a:solidFill>
                          <a:effectLst/>
                          <a:latin typeface="Calibri" panose="020F0502020204030204" pitchFamily="34" charset="0"/>
                        </a:rPr>
                        <a:t>Hornictv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96 (19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96,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1447061"/>
                  </a:ext>
                </a:extLst>
              </a:tr>
              <a:tr h="279238">
                <a:tc>
                  <a:txBody>
                    <a:bodyPr/>
                    <a:lstStyle/>
                    <a:p>
                      <a:pPr algn="l" fontAlgn="ctr"/>
                      <a:r>
                        <a:rPr lang="cs-CZ" sz="1400" b="1" i="0" u="none" strike="noStrike">
                          <a:solidFill>
                            <a:srgbClr val="000000"/>
                          </a:solidFill>
                          <a:effectLst/>
                          <a:latin typeface="Calibri" panose="020F0502020204030204" pitchFamily="34" charset="0"/>
                        </a:rPr>
                        <a:t>Kancelář, úřad</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92 (1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 (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1,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95977792"/>
                  </a:ext>
                </a:extLst>
              </a:tr>
              <a:tr h="279238">
                <a:tc>
                  <a:txBody>
                    <a:bodyPr/>
                    <a:lstStyle/>
                    <a:p>
                      <a:pPr algn="l" fontAlgn="ctr"/>
                      <a:r>
                        <a:rPr lang="cs-CZ" sz="1400" b="1" i="0" u="none" strike="noStrike">
                          <a:solidFill>
                            <a:srgbClr val="000000"/>
                          </a:solidFill>
                          <a:effectLst/>
                          <a:latin typeface="Calibri" panose="020F0502020204030204" pitchFamily="34" charset="0"/>
                        </a:rPr>
                        <a:t>Prodejna, obchod</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8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2,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14643755"/>
                  </a:ext>
                </a:extLst>
              </a:tr>
              <a:tr h="279238">
                <a:tc>
                  <a:txBody>
                    <a:bodyPr/>
                    <a:lstStyle/>
                    <a:p>
                      <a:pPr algn="l" fontAlgn="ctr"/>
                      <a:r>
                        <a:rPr lang="cs-CZ" sz="1400" b="1" i="0" u="none" strike="noStrike">
                          <a:solidFill>
                            <a:srgbClr val="000000"/>
                          </a:solidFill>
                          <a:effectLst/>
                          <a:latin typeface="Calibri" panose="020F0502020204030204" pitchFamily="34" charset="0"/>
                        </a:rPr>
                        <a:t>Sportovn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7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2,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1997362"/>
                  </a:ext>
                </a:extLst>
              </a:tr>
              <a:tr h="279238">
                <a:tc>
                  <a:txBody>
                    <a:bodyPr/>
                    <a:lstStyle/>
                    <a:p>
                      <a:pPr algn="l" fontAlgn="ctr"/>
                      <a:r>
                        <a:rPr lang="cs-CZ" sz="1400" b="1" i="0" u="none" strike="noStrike">
                          <a:solidFill>
                            <a:srgbClr val="000000"/>
                          </a:solidFill>
                          <a:effectLst/>
                          <a:latin typeface="Calibri" panose="020F0502020204030204" pitchFamily="34" charset="0"/>
                        </a:rPr>
                        <a:t>HZS</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5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9,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28371184"/>
                  </a:ext>
                </a:extLst>
              </a:tr>
              <a:tr h="279238">
                <a:tc>
                  <a:txBody>
                    <a:bodyPr/>
                    <a:lstStyle/>
                    <a:p>
                      <a:pPr algn="l" fontAlgn="ctr"/>
                      <a:r>
                        <a:rPr lang="cs-CZ" sz="1400" b="1" i="0" u="none" strike="noStrike">
                          <a:solidFill>
                            <a:srgbClr val="000000"/>
                          </a:solidFill>
                          <a:effectLst/>
                          <a:latin typeface="Calibri" panose="020F0502020204030204" pitchFamily="34" charset="0"/>
                        </a:rPr>
                        <a:t>Rodinný výskyt</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1 (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60766749"/>
                  </a:ext>
                </a:extLst>
              </a:tr>
              <a:tr h="279238">
                <a:tc>
                  <a:txBody>
                    <a:bodyPr/>
                    <a:lstStyle/>
                    <a:p>
                      <a:pPr algn="l" fontAlgn="ctr"/>
                      <a:r>
                        <a:rPr lang="cs-CZ" sz="1400" b="1" i="0" u="none" strike="noStrike">
                          <a:solidFill>
                            <a:srgbClr val="000000"/>
                          </a:solidFill>
                          <a:effectLst/>
                          <a:latin typeface="Calibri" panose="020F0502020204030204" pitchFamily="34" charset="0"/>
                        </a:rPr>
                        <a:t>Polici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0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63912153"/>
                  </a:ext>
                </a:extLst>
              </a:tr>
              <a:tr h="279238">
                <a:tc>
                  <a:txBody>
                    <a:bodyPr/>
                    <a:lstStyle/>
                    <a:p>
                      <a:pPr algn="l" fontAlgn="ctr"/>
                      <a:r>
                        <a:rPr lang="cs-CZ" sz="1400" b="1" i="0" u="none" strike="noStrike">
                          <a:solidFill>
                            <a:srgbClr val="000000"/>
                          </a:solidFill>
                          <a:effectLst/>
                          <a:latin typeface="Calibri" panose="020F0502020204030204" pitchFamily="34" charset="0"/>
                        </a:rPr>
                        <a:t>Církev</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8,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26318133"/>
                  </a:ext>
                </a:extLst>
              </a:tr>
              <a:tr h="279238">
                <a:tc>
                  <a:txBody>
                    <a:bodyPr/>
                    <a:lstStyle/>
                    <a:p>
                      <a:pPr algn="l" fontAlgn="ctr"/>
                      <a:r>
                        <a:rPr lang="cs-CZ" sz="1400" b="1" i="0" u="none" strike="noStrike">
                          <a:solidFill>
                            <a:srgbClr val="000000"/>
                          </a:solidFill>
                          <a:effectLst/>
                          <a:latin typeface="Calibri" panose="020F0502020204030204" pitchFamily="34" charset="0"/>
                        </a:rPr>
                        <a:t>Školen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dirty="0">
                          <a:solidFill>
                            <a:srgbClr val="000000"/>
                          </a:solidFill>
                          <a:effectLst/>
                          <a:latin typeface="Calibri" panose="020F0502020204030204" pitchFamily="34" charset="0"/>
                        </a:rPr>
                        <a:t>8,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3506214"/>
                  </a:ext>
                </a:extLst>
              </a:tr>
            </a:tbl>
          </a:graphicData>
        </a:graphic>
      </p:graphicFrame>
    </p:spTree>
    <p:extLst>
      <p:ext uri="{BB962C8B-B14F-4D97-AF65-F5344CB8AC3E}">
        <p14:creationId xmlns:p14="http://schemas.microsoft.com/office/powerpoint/2010/main" val="11881497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8FF9C10D-31C5-469E-9C61-0B1A6EC4A528}"/>
              </a:ext>
            </a:extLst>
          </p:cNvPr>
          <p:cNvGraphicFramePr>
            <a:graphicFrameLocks noGrp="1"/>
          </p:cNvGraphicFramePr>
          <p:nvPr>
            <p:extLst>
              <p:ext uri="{D42A27DB-BD31-4B8C-83A1-F6EECF244321}">
                <p14:modId xmlns:p14="http://schemas.microsoft.com/office/powerpoint/2010/main" val="2022490243"/>
              </p:ext>
            </p:extLst>
          </p:nvPr>
        </p:nvGraphicFramePr>
        <p:xfrm>
          <a:off x="2161974" y="1667669"/>
          <a:ext cx="9410895" cy="4780760"/>
        </p:xfrm>
        <a:graphic>
          <a:graphicData uri="http://schemas.openxmlformats.org/drawingml/2006/table">
            <a:tbl>
              <a:tblPr/>
              <a:tblGrid>
                <a:gridCol w="627393">
                  <a:extLst>
                    <a:ext uri="{9D8B030D-6E8A-4147-A177-3AD203B41FA5}">
                      <a16:colId xmlns:a16="http://schemas.microsoft.com/office/drawing/2014/main" val="3020255476"/>
                    </a:ext>
                  </a:extLst>
                </a:gridCol>
                <a:gridCol w="627393">
                  <a:extLst>
                    <a:ext uri="{9D8B030D-6E8A-4147-A177-3AD203B41FA5}">
                      <a16:colId xmlns:a16="http://schemas.microsoft.com/office/drawing/2014/main" val="4146213542"/>
                    </a:ext>
                  </a:extLst>
                </a:gridCol>
                <a:gridCol w="627393">
                  <a:extLst>
                    <a:ext uri="{9D8B030D-6E8A-4147-A177-3AD203B41FA5}">
                      <a16:colId xmlns:a16="http://schemas.microsoft.com/office/drawing/2014/main" val="1044009281"/>
                    </a:ext>
                  </a:extLst>
                </a:gridCol>
                <a:gridCol w="627393">
                  <a:extLst>
                    <a:ext uri="{9D8B030D-6E8A-4147-A177-3AD203B41FA5}">
                      <a16:colId xmlns:a16="http://schemas.microsoft.com/office/drawing/2014/main" val="2008170856"/>
                    </a:ext>
                  </a:extLst>
                </a:gridCol>
                <a:gridCol w="627393">
                  <a:extLst>
                    <a:ext uri="{9D8B030D-6E8A-4147-A177-3AD203B41FA5}">
                      <a16:colId xmlns:a16="http://schemas.microsoft.com/office/drawing/2014/main" val="1524197182"/>
                    </a:ext>
                  </a:extLst>
                </a:gridCol>
                <a:gridCol w="627393">
                  <a:extLst>
                    <a:ext uri="{9D8B030D-6E8A-4147-A177-3AD203B41FA5}">
                      <a16:colId xmlns:a16="http://schemas.microsoft.com/office/drawing/2014/main" val="1715803670"/>
                    </a:ext>
                  </a:extLst>
                </a:gridCol>
                <a:gridCol w="627393">
                  <a:extLst>
                    <a:ext uri="{9D8B030D-6E8A-4147-A177-3AD203B41FA5}">
                      <a16:colId xmlns:a16="http://schemas.microsoft.com/office/drawing/2014/main" val="3635122063"/>
                    </a:ext>
                  </a:extLst>
                </a:gridCol>
                <a:gridCol w="627393">
                  <a:extLst>
                    <a:ext uri="{9D8B030D-6E8A-4147-A177-3AD203B41FA5}">
                      <a16:colId xmlns:a16="http://schemas.microsoft.com/office/drawing/2014/main" val="2471521748"/>
                    </a:ext>
                  </a:extLst>
                </a:gridCol>
                <a:gridCol w="627393">
                  <a:extLst>
                    <a:ext uri="{9D8B030D-6E8A-4147-A177-3AD203B41FA5}">
                      <a16:colId xmlns:a16="http://schemas.microsoft.com/office/drawing/2014/main" val="4095756431"/>
                    </a:ext>
                  </a:extLst>
                </a:gridCol>
                <a:gridCol w="627393">
                  <a:extLst>
                    <a:ext uri="{9D8B030D-6E8A-4147-A177-3AD203B41FA5}">
                      <a16:colId xmlns:a16="http://schemas.microsoft.com/office/drawing/2014/main" val="4164357765"/>
                    </a:ext>
                  </a:extLst>
                </a:gridCol>
                <a:gridCol w="627393">
                  <a:extLst>
                    <a:ext uri="{9D8B030D-6E8A-4147-A177-3AD203B41FA5}">
                      <a16:colId xmlns:a16="http://schemas.microsoft.com/office/drawing/2014/main" val="3076151352"/>
                    </a:ext>
                  </a:extLst>
                </a:gridCol>
                <a:gridCol w="627393">
                  <a:extLst>
                    <a:ext uri="{9D8B030D-6E8A-4147-A177-3AD203B41FA5}">
                      <a16:colId xmlns:a16="http://schemas.microsoft.com/office/drawing/2014/main" val="1504367676"/>
                    </a:ext>
                  </a:extLst>
                </a:gridCol>
                <a:gridCol w="627393">
                  <a:extLst>
                    <a:ext uri="{9D8B030D-6E8A-4147-A177-3AD203B41FA5}">
                      <a16:colId xmlns:a16="http://schemas.microsoft.com/office/drawing/2014/main" val="3987359753"/>
                    </a:ext>
                  </a:extLst>
                </a:gridCol>
                <a:gridCol w="627393">
                  <a:extLst>
                    <a:ext uri="{9D8B030D-6E8A-4147-A177-3AD203B41FA5}">
                      <a16:colId xmlns:a16="http://schemas.microsoft.com/office/drawing/2014/main" val="2039301847"/>
                    </a:ext>
                  </a:extLst>
                </a:gridCol>
                <a:gridCol w="627393">
                  <a:extLst>
                    <a:ext uri="{9D8B030D-6E8A-4147-A177-3AD203B41FA5}">
                      <a16:colId xmlns:a16="http://schemas.microsoft.com/office/drawing/2014/main" val="985377214"/>
                    </a:ext>
                  </a:extLst>
                </a:gridCol>
              </a:tblGrid>
              <a:tr h="478076">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9C4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5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7BF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BC0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3"/>
                    </a:solidFill>
                  </a:tcPr>
                </a:tc>
                <a:extLst>
                  <a:ext uri="{0D108BD9-81ED-4DB2-BD59-A6C34878D82A}">
                    <a16:rowId xmlns:a16="http://schemas.microsoft.com/office/drawing/2014/main" val="1432981135"/>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383"/>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D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D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B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5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DCA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4BE7B"/>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3290578991"/>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5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2203155639"/>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8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0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9D2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7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A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B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FC6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6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A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extLst>
                  <a:ext uri="{0D108BD9-81ED-4DB2-BD59-A6C34878D82A}">
                    <a16:rowId xmlns:a16="http://schemas.microsoft.com/office/drawing/2014/main" val="1403779221"/>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3"/>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CD780"/>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B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extLst>
                  <a:ext uri="{0D108BD9-81ED-4DB2-BD59-A6C34878D82A}">
                    <a16:rowId xmlns:a16="http://schemas.microsoft.com/office/drawing/2014/main" val="2244775784"/>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2C2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9BF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6C37C"/>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4C2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5C87D"/>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3C7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BC07B"/>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6C37C"/>
                    </a:solidFill>
                  </a:tcPr>
                </a:tc>
                <a:extLst>
                  <a:ext uri="{0D108BD9-81ED-4DB2-BD59-A6C34878D82A}">
                    <a16:rowId xmlns:a16="http://schemas.microsoft.com/office/drawing/2014/main" val="3800094557"/>
                  </a:ext>
                </a:extLst>
              </a:tr>
              <a:tr h="478076">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8BF7B"/>
                    </a:solidFill>
                  </a:tcPr>
                </a:tc>
                <a:extLst>
                  <a:ext uri="{0D108BD9-81ED-4DB2-BD59-A6C34878D82A}">
                    <a16:rowId xmlns:a16="http://schemas.microsoft.com/office/drawing/2014/main" val="2221462301"/>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8DB80"/>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8C87D"/>
                    </a:solidFill>
                  </a:tcPr>
                </a:tc>
                <a:extLst>
                  <a:ext uri="{0D108BD9-81ED-4DB2-BD59-A6C34878D82A}">
                    <a16:rowId xmlns:a16="http://schemas.microsoft.com/office/drawing/2014/main" val="1365238449"/>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A84"/>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D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extLst>
                  <a:ext uri="{0D108BD9-81ED-4DB2-BD59-A6C34878D82A}">
                    <a16:rowId xmlns:a16="http://schemas.microsoft.com/office/drawing/2014/main" val="3761513720"/>
                  </a:ext>
                </a:extLst>
              </a:tr>
              <a:tr h="478076">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D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5C3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5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E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E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F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5C3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EC1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extLst>
                  <a:ext uri="{0D108BD9-81ED-4DB2-BD59-A6C34878D82A}">
                    <a16:rowId xmlns:a16="http://schemas.microsoft.com/office/drawing/2014/main" val="2611552777"/>
                  </a:ext>
                </a:extLst>
              </a:tr>
            </a:tbl>
          </a:graphicData>
        </a:graphic>
      </p:graphicFrame>
      <p:sp>
        <p:nvSpPr>
          <p:cNvPr id="2" name="Nadpis 1">
            <a:extLst>
              <a:ext uri="{FF2B5EF4-FFF2-40B4-BE49-F238E27FC236}">
                <a16:creationId xmlns:a16="http://schemas.microsoft.com/office/drawing/2014/main" id="{52431848-192E-4F04-A0BC-102B082D0963}"/>
              </a:ext>
            </a:extLst>
          </p:cNvPr>
          <p:cNvSpPr>
            <a:spLocks noGrp="1"/>
          </p:cNvSpPr>
          <p:nvPr>
            <p:ph type="title"/>
          </p:nvPr>
        </p:nvSpPr>
        <p:spPr>
          <a:xfrm>
            <a:off x="190492" y="16373"/>
            <a:ext cx="7435177" cy="576000"/>
          </a:xfrm>
        </p:spPr>
        <p:txBody>
          <a:bodyPr>
            <a:noAutofit/>
          </a:bodyPr>
          <a:lstStyle/>
          <a:p>
            <a:r>
              <a:rPr lang="cs-CZ" dirty="0"/>
              <a:t>Události od 1. ledna 2021 v krajích</a:t>
            </a:r>
          </a:p>
        </p:txBody>
      </p:sp>
      <p:graphicFrame>
        <p:nvGraphicFramePr>
          <p:cNvPr id="8" name="Tabulka 7">
            <a:extLst>
              <a:ext uri="{FF2B5EF4-FFF2-40B4-BE49-F238E27FC236}">
                <a16:creationId xmlns:a16="http://schemas.microsoft.com/office/drawing/2014/main" id="{B62D437C-A228-4F0A-ACB3-4CCFE0FE3CD4}"/>
              </a:ext>
            </a:extLst>
          </p:cNvPr>
          <p:cNvGraphicFramePr>
            <a:graphicFrameLocks noGrp="1"/>
          </p:cNvGraphicFramePr>
          <p:nvPr>
            <p:extLst>
              <p:ext uri="{D42A27DB-BD31-4B8C-83A1-F6EECF244321}">
                <p14:modId xmlns:p14="http://schemas.microsoft.com/office/powerpoint/2010/main" val="1985237905"/>
              </p:ext>
            </p:extLst>
          </p:nvPr>
        </p:nvGraphicFramePr>
        <p:xfrm>
          <a:off x="190492" y="1200149"/>
          <a:ext cx="11382382" cy="5248276"/>
        </p:xfrm>
        <a:graphic>
          <a:graphicData uri="http://schemas.openxmlformats.org/drawingml/2006/table">
            <a:tbl>
              <a:tblPr/>
              <a:tblGrid>
                <a:gridCol w="1973287">
                  <a:extLst>
                    <a:ext uri="{9D8B030D-6E8A-4147-A177-3AD203B41FA5}">
                      <a16:colId xmlns:a16="http://schemas.microsoft.com/office/drawing/2014/main" val="3610416489"/>
                    </a:ext>
                  </a:extLst>
                </a:gridCol>
                <a:gridCol w="627273">
                  <a:extLst>
                    <a:ext uri="{9D8B030D-6E8A-4147-A177-3AD203B41FA5}">
                      <a16:colId xmlns:a16="http://schemas.microsoft.com/office/drawing/2014/main" val="1060229726"/>
                    </a:ext>
                  </a:extLst>
                </a:gridCol>
                <a:gridCol w="627273">
                  <a:extLst>
                    <a:ext uri="{9D8B030D-6E8A-4147-A177-3AD203B41FA5}">
                      <a16:colId xmlns:a16="http://schemas.microsoft.com/office/drawing/2014/main" val="3700767613"/>
                    </a:ext>
                  </a:extLst>
                </a:gridCol>
                <a:gridCol w="627273">
                  <a:extLst>
                    <a:ext uri="{9D8B030D-6E8A-4147-A177-3AD203B41FA5}">
                      <a16:colId xmlns:a16="http://schemas.microsoft.com/office/drawing/2014/main" val="339520650"/>
                    </a:ext>
                  </a:extLst>
                </a:gridCol>
                <a:gridCol w="627273">
                  <a:extLst>
                    <a:ext uri="{9D8B030D-6E8A-4147-A177-3AD203B41FA5}">
                      <a16:colId xmlns:a16="http://schemas.microsoft.com/office/drawing/2014/main" val="1452008815"/>
                    </a:ext>
                  </a:extLst>
                </a:gridCol>
                <a:gridCol w="627273">
                  <a:extLst>
                    <a:ext uri="{9D8B030D-6E8A-4147-A177-3AD203B41FA5}">
                      <a16:colId xmlns:a16="http://schemas.microsoft.com/office/drawing/2014/main" val="2238175384"/>
                    </a:ext>
                  </a:extLst>
                </a:gridCol>
                <a:gridCol w="627273">
                  <a:extLst>
                    <a:ext uri="{9D8B030D-6E8A-4147-A177-3AD203B41FA5}">
                      <a16:colId xmlns:a16="http://schemas.microsoft.com/office/drawing/2014/main" val="3559731033"/>
                    </a:ext>
                  </a:extLst>
                </a:gridCol>
                <a:gridCol w="627273">
                  <a:extLst>
                    <a:ext uri="{9D8B030D-6E8A-4147-A177-3AD203B41FA5}">
                      <a16:colId xmlns:a16="http://schemas.microsoft.com/office/drawing/2014/main" val="3459481382"/>
                    </a:ext>
                  </a:extLst>
                </a:gridCol>
                <a:gridCol w="627273">
                  <a:extLst>
                    <a:ext uri="{9D8B030D-6E8A-4147-A177-3AD203B41FA5}">
                      <a16:colId xmlns:a16="http://schemas.microsoft.com/office/drawing/2014/main" val="2206663338"/>
                    </a:ext>
                  </a:extLst>
                </a:gridCol>
                <a:gridCol w="627273">
                  <a:extLst>
                    <a:ext uri="{9D8B030D-6E8A-4147-A177-3AD203B41FA5}">
                      <a16:colId xmlns:a16="http://schemas.microsoft.com/office/drawing/2014/main" val="3424048832"/>
                    </a:ext>
                  </a:extLst>
                </a:gridCol>
                <a:gridCol w="627273">
                  <a:extLst>
                    <a:ext uri="{9D8B030D-6E8A-4147-A177-3AD203B41FA5}">
                      <a16:colId xmlns:a16="http://schemas.microsoft.com/office/drawing/2014/main" val="1330612019"/>
                    </a:ext>
                  </a:extLst>
                </a:gridCol>
                <a:gridCol w="627273">
                  <a:extLst>
                    <a:ext uri="{9D8B030D-6E8A-4147-A177-3AD203B41FA5}">
                      <a16:colId xmlns:a16="http://schemas.microsoft.com/office/drawing/2014/main" val="243446272"/>
                    </a:ext>
                  </a:extLst>
                </a:gridCol>
                <a:gridCol w="627273">
                  <a:extLst>
                    <a:ext uri="{9D8B030D-6E8A-4147-A177-3AD203B41FA5}">
                      <a16:colId xmlns:a16="http://schemas.microsoft.com/office/drawing/2014/main" val="2527247430"/>
                    </a:ext>
                  </a:extLst>
                </a:gridCol>
                <a:gridCol w="627273">
                  <a:extLst>
                    <a:ext uri="{9D8B030D-6E8A-4147-A177-3AD203B41FA5}">
                      <a16:colId xmlns:a16="http://schemas.microsoft.com/office/drawing/2014/main" val="1706535136"/>
                    </a:ext>
                  </a:extLst>
                </a:gridCol>
                <a:gridCol w="627273">
                  <a:extLst>
                    <a:ext uri="{9D8B030D-6E8A-4147-A177-3AD203B41FA5}">
                      <a16:colId xmlns:a16="http://schemas.microsoft.com/office/drawing/2014/main" val="4097372834"/>
                    </a:ext>
                  </a:extLst>
                </a:gridCol>
                <a:gridCol w="627273">
                  <a:extLst>
                    <a:ext uri="{9D8B030D-6E8A-4147-A177-3AD203B41FA5}">
                      <a16:colId xmlns:a16="http://schemas.microsoft.com/office/drawing/2014/main" val="514847524"/>
                    </a:ext>
                  </a:extLst>
                </a:gridCol>
              </a:tblGrid>
              <a:tr h="477116">
                <a:tc>
                  <a:txBody>
                    <a:bodyPr/>
                    <a:lstStyle/>
                    <a:p>
                      <a:pPr algn="ctr" fontAlgn="ctr"/>
                      <a:r>
                        <a:rPr lang="cs-CZ" sz="1400" b="0" i="0" u="none" strike="noStrike">
                          <a:solidFill>
                            <a:srgbClr val="000000"/>
                          </a:solidFill>
                          <a:effectLst/>
                          <a:latin typeface="Calibri" panose="020F0502020204030204" pitchFamily="34" charset="0"/>
                        </a:rPr>
                        <a:t> </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PHA</a:t>
                      </a:r>
                    </a:p>
                  </a:txBody>
                  <a:tcPr marL="9203" marR="9203" marT="9203"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STC</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JHC</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PL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KV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UL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LB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HK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PA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VYS</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JM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OL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ZLK</a:t>
                      </a:r>
                    </a:p>
                  </a:txBody>
                  <a:tcPr marL="9203" marR="9203" marT="9203"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MSK</a:t>
                      </a:r>
                    </a:p>
                  </a:txBody>
                  <a:tcPr marL="9203" marR="9203" marT="9203"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400" b="1" i="0" u="none" strike="noStrike">
                          <a:solidFill>
                            <a:srgbClr val="000000"/>
                          </a:solidFill>
                          <a:effectLst/>
                          <a:latin typeface="Calibri" panose="020F0502020204030204" pitchFamily="34" charset="0"/>
                        </a:rPr>
                        <a:t>ČR</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25867979"/>
                  </a:ext>
                </a:extLst>
              </a:tr>
              <a:tr h="477116">
                <a:tc>
                  <a:txBody>
                    <a:bodyPr/>
                    <a:lstStyle/>
                    <a:p>
                      <a:pPr algn="l" fontAlgn="ctr"/>
                      <a:r>
                        <a:rPr lang="cs-CZ" sz="1400" b="1" i="0" u="none" strike="noStrike" dirty="0">
                          <a:solidFill>
                            <a:srgbClr val="000000"/>
                          </a:solidFill>
                          <a:effectLst/>
                          <a:latin typeface="Calibri" panose="020F0502020204030204" pitchFamily="34" charset="0"/>
                        </a:rPr>
                        <a:t>Mateřská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6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218)</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69</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69)</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2</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7</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9</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0</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2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26</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9</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7</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24</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27</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26</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8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372865552"/>
                  </a:ext>
                </a:extLst>
              </a:tr>
              <a:tr h="477116">
                <a:tc>
                  <a:txBody>
                    <a:bodyPr/>
                    <a:lstStyle/>
                    <a:p>
                      <a:pPr algn="l" fontAlgn="ctr"/>
                      <a:r>
                        <a:rPr lang="cs-CZ" sz="1400" b="1" i="0" u="none" strike="noStrike">
                          <a:solidFill>
                            <a:srgbClr val="000000"/>
                          </a:solidFill>
                          <a:effectLst/>
                          <a:latin typeface="Calibri" panose="020F0502020204030204" pitchFamily="34" charset="0"/>
                        </a:rPr>
                        <a:t>Mateřská + základní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57</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4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36</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92)</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4</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8</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3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2</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29)</a:t>
                      </a: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10</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2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701953426"/>
                  </a:ext>
                </a:extLst>
              </a:tr>
              <a:tr h="477116">
                <a:tc>
                  <a:txBody>
                    <a:bodyPr/>
                    <a:lstStyle/>
                    <a:p>
                      <a:pPr algn="l" fontAlgn="ctr"/>
                      <a:r>
                        <a:rPr lang="cs-CZ" sz="1400" b="1" i="0" u="none" strike="noStrike">
                          <a:solidFill>
                            <a:srgbClr val="000000"/>
                          </a:solidFill>
                          <a:effectLst/>
                          <a:latin typeface="Calibri" panose="020F0502020204030204" pitchFamily="34" charset="0"/>
                        </a:rPr>
                        <a:t>Mateřská + základní + střední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30</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6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12</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322267011"/>
                  </a:ext>
                </a:extLst>
              </a:tr>
              <a:tr h="477116">
                <a:tc>
                  <a:txBody>
                    <a:bodyPr/>
                    <a:lstStyle/>
                    <a:p>
                      <a:pPr algn="l" fontAlgn="ctr"/>
                      <a:r>
                        <a:rPr lang="cs-CZ" sz="1400" b="1" i="0" u="none" strike="noStrike">
                          <a:solidFill>
                            <a:srgbClr val="000000"/>
                          </a:solidFill>
                          <a:effectLst/>
                          <a:latin typeface="Calibri" panose="020F0502020204030204" pitchFamily="34" charset="0"/>
                        </a:rPr>
                        <a:t>Základní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67</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6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77)</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4</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5</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8</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7</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4</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2</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4</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5</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9</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38</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24</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4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386069392"/>
                  </a:ext>
                </a:extLst>
              </a:tr>
              <a:tr h="477116">
                <a:tc>
                  <a:txBody>
                    <a:bodyPr/>
                    <a:lstStyle/>
                    <a:p>
                      <a:pPr algn="l" fontAlgn="ctr"/>
                      <a:r>
                        <a:rPr lang="cs-CZ" sz="1400" b="1" i="0" u="none" strike="noStrike">
                          <a:solidFill>
                            <a:srgbClr val="000000"/>
                          </a:solidFill>
                          <a:effectLst/>
                          <a:latin typeface="Calibri" panose="020F0502020204030204" pitchFamily="34" charset="0"/>
                        </a:rPr>
                        <a:t>Základní + střední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25</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6</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50</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60</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7</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980230228"/>
                  </a:ext>
                </a:extLst>
              </a:tr>
              <a:tr h="477116">
                <a:tc>
                  <a:txBody>
                    <a:bodyPr/>
                    <a:lstStyle/>
                    <a:p>
                      <a:pPr algn="l" fontAlgn="ctr"/>
                      <a:r>
                        <a:rPr lang="cs-CZ" sz="1400" b="1" i="0" u="none" strike="noStrike">
                          <a:solidFill>
                            <a:srgbClr val="000000"/>
                          </a:solidFill>
                          <a:effectLst/>
                          <a:latin typeface="Calibri" panose="020F0502020204030204" pitchFamily="34" charset="0"/>
                        </a:rPr>
                        <a:t>Střední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2</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2</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2</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07</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2</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547071889"/>
                  </a:ext>
                </a:extLst>
              </a:tr>
              <a:tr h="477116">
                <a:tc>
                  <a:txBody>
                    <a:bodyPr/>
                    <a:lstStyle/>
                    <a:p>
                      <a:pPr algn="l" fontAlgn="ctr"/>
                      <a:r>
                        <a:rPr lang="cs-CZ" sz="1400" b="1" i="0" u="none" strike="noStrike">
                          <a:solidFill>
                            <a:srgbClr val="000000"/>
                          </a:solidFill>
                          <a:effectLst/>
                          <a:latin typeface="Calibri" panose="020F0502020204030204" pitchFamily="34" charset="0"/>
                        </a:rPr>
                        <a:t>Střední + Vyšší odborná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11</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1</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357715885"/>
                  </a:ext>
                </a:extLst>
              </a:tr>
              <a:tr h="477116">
                <a:tc>
                  <a:txBody>
                    <a:bodyPr/>
                    <a:lstStyle/>
                    <a:p>
                      <a:pPr algn="l" fontAlgn="ctr"/>
                      <a:r>
                        <a:rPr lang="cs-CZ" sz="1400" b="1" i="0" u="none" strike="noStrike">
                          <a:solidFill>
                            <a:srgbClr val="000000"/>
                          </a:solidFill>
                          <a:effectLst/>
                          <a:latin typeface="Calibri" panose="020F0502020204030204" pitchFamily="34" charset="0"/>
                        </a:rPr>
                        <a:t>Vyšší odborná škola</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06</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3</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24265230"/>
                  </a:ext>
                </a:extLst>
              </a:tr>
              <a:tr h="477116">
                <a:tc>
                  <a:txBody>
                    <a:bodyPr/>
                    <a:lstStyle/>
                    <a:p>
                      <a:pPr algn="l" fontAlgn="ctr"/>
                      <a:r>
                        <a:rPr lang="cs-CZ" sz="1400" b="1" i="0" u="none" strike="noStrike">
                          <a:solidFill>
                            <a:srgbClr val="000000"/>
                          </a:solidFill>
                          <a:effectLst/>
                          <a:latin typeface="Calibri" panose="020F0502020204030204" pitchFamily="34" charset="0"/>
                        </a:rPr>
                        <a:t>Ostatní</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200" b="0" i="0" u="none" strike="noStrike">
                          <a:solidFill>
                            <a:srgbClr val="000000"/>
                          </a:solidFill>
                          <a:effectLst/>
                          <a:latin typeface="Calibri" panose="020F0502020204030204" pitchFamily="34" charset="0"/>
                        </a:rPr>
                        <a:t>0,13</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00</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00</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50</a:t>
                      </a:r>
                      <a:br>
                        <a:rPr lang="cs-CZ" sz="1200" b="0" i="0" u="none" strike="noStrike">
                          <a:solidFill>
                            <a:srgbClr val="000000"/>
                          </a:solidFill>
                          <a:effectLst/>
                          <a:latin typeface="Calibri" panose="020F0502020204030204" pitchFamily="34" charset="0"/>
                        </a:rPr>
                      </a:b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78</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6311486"/>
                  </a:ext>
                </a:extLst>
              </a:tr>
              <a:tr h="477116">
                <a:tc>
                  <a:txBody>
                    <a:bodyPr/>
                    <a:lstStyle/>
                    <a:p>
                      <a:pPr algn="l" fontAlgn="ctr"/>
                      <a:r>
                        <a:rPr lang="cs-CZ" sz="1400" b="1" i="0" u="none" strike="noStrike">
                          <a:solidFill>
                            <a:srgbClr val="000000"/>
                          </a:solidFill>
                          <a:effectLst/>
                          <a:latin typeface="Calibri" panose="020F0502020204030204" pitchFamily="34" charset="0"/>
                        </a:rPr>
                        <a:t>CELKEM</a:t>
                      </a:r>
                    </a:p>
                  </a:txBody>
                  <a:tcPr marL="9203" marR="9203" marT="92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cs-CZ" sz="1200" b="1" i="0" u="none" strike="noStrike">
                          <a:solidFill>
                            <a:srgbClr val="000000"/>
                          </a:solidFill>
                          <a:effectLst/>
                          <a:latin typeface="Calibri" panose="020F0502020204030204" pitchFamily="34" charset="0"/>
                        </a:rPr>
                        <a:t>0,49</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397)</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53</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65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2</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9</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7</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7</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20</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80)</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4</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4</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2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2</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01</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12</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10</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21</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169)</a:t>
                      </a:r>
                    </a:p>
                  </a:txBody>
                  <a:tcPr marL="9525" marR="9525" marT="9525" marB="0" anchor="ctr">
                    <a:lnL w="12700" cap="flat" cmpd="sng" algn="ctr">
                      <a:solidFill>
                        <a:schemeClr val="bg1">
                          <a:lumMod val="9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0,18</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15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6881327"/>
                  </a:ext>
                </a:extLst>
              </a:tr>
            </a:tbl>
          </a:graphicData>
        </a:graphic>
      </p:graphicFrame>
      <p:sp>
        <p:nvSpPr>
          <p:cNvPr id="12" name="Obdélník 11">
            <a:extLst>
              <a:ext uri="{FF2B5EF4-FFF2-40B4-BE49-F238E27FC236}">
                <a16:creationId xmlns:a16="http://schemas.microsoft.com/office/drawing/2014/main" id="{8765B472-58EE-41E2-8760-DAD0F1C198CE}"/>
              </a:ext>
            </a:extLst>
          </p:cNvPr>
          <p:cNvSpPr/>
          <p:nvPr/>
        </p:nvSpPr>
        <p:spPr>
          <a:xfrm>
            <a:off x="257174" y="601898"/>
            <a:ext cx="10582275" cy="369332"/>
          </a:xfrm>
          <a:prstGeom prst="rect">
            <a:avLst/>
          </a:prstGeom>
        </p:spPr>
        <p:txBody>
          <a:bodyPr wrap="square">
            <a:spAutoFit/>
          </a:bodyPr>
          <a:lstStyle/>
          <a:p>
            <a:pPr fontAlgn="ctr"/>
            <a:r>
              <a:rPr lang="cs-CZ" b="1" dirty="0">
                <a:solidFill>
                  <a:srgbClr val="000000"/>
                </a:solidFill>
                <a:latin typeface="Calibri" panose="020F0502020204030204" pitchFamily="34" charset="0"/>
              </a:rPr>
              <a:t>Počet událostí na jedno školské zařízení* (počet zaznamenaných a nahlášených událostí)</a:t>
            </a:r>
          </a:p>
        </p:txBody>
      </p:sp>
      <p:grpSp>
        <p:nvGrpSpPr>
          <p:cNvPr id="13" name="Skupina 12">
            <a:extLst>
              <a:ext uri="{FF2B5EF4-FFF2-40B4-BE49-F238E27FC236}">
                <a16:creationId xmlns:a16="http://schemas.microsoft.com/office/drawing/2014/main" id="{C178C0F8-9094-4050-B914-51554B2A8B09}"/>
              </a:ext>
            </a:extLst>
          </p:cNvPr>
          <p:cNvGrpSpPr/>
          <p:nvPr/>
        </p:nvGrpSpPr>
        <p:grpSpPr>
          <a:xfrm>
            <a:off x="257174" y="6587093"/>
            <a:ext cx="2143122" cy="173463"/>
            <a:chOff x="733425" y="6443990"/>
            <a:chExt cx="2143122" cy="173463"/>
          </a:xfrm>
        </p:grpSpPr>
        <p:sp>
          <p:nvSpPr>
            <p:cNvPr id="14" name="TextovéPole 13">
              <a:extLst>
                <a:ext uri="{FF2B5EF4-FFF2-40B4-BE49-F238E27FC236}">
                  <a16:creationId xmlns:a16="http://schemas.microsoft.com/office/drawing/2014/main" id="{1BA5DE04-43AA-4110-AD0B-93DFDD814237}"/>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5" name="Obrázek 14">
              <a:extLst>
                <a:ext uri="{FF2B5EF4-FFF2-40B4-BE49-F238E27FC236}">
                  <a16:creationId xmlns:a16="http://schemas.microsoft.com/office/drawing/2014/main" id="{4B1BFA3B-6A8B-4219-9965-AC2CDFF607D4}"/>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6" name="TextovéPole 15">
            <a:extLst>
              <a:ext uri="{FF2B5EF4-FFF2-40B4-BE49-F238E27FC236}">
                <a16:creationId xmlns:a16="http://schemas.microsoft.com/office/drawing/2014/main" id="{90A77240-A15C-4E36-9AFD-1412C1113199}"/>
              </a:ext>
            </a:extLst>
          </p:cNvPr>
          <p:cNvSpPr txBox="1"/>
          <p:nvPr/>
        </p:nvSpPr>
        <p:spPr>
          <a:xfrm>
            <a:off x="2404282" y="6534167"/>
            <a:ext cx="66895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rámci tabulky</a:t>
            </a:r>
          </a:p>
        </p:txBody>
      </p:sp>
      <p:sp>
        <p:nvSpPr>
          <p:cNvPr id="18" name="TextovéPole 17">
            <a:extLst>
              <a:ext uri="{FF2B5EF4-FFF2-40B4-BE49-F238E27FC236}">
                <a16:creationId xmlns:a16="http://schemas.microsoft.com/office/drawing/2014/main" id="{7DF5B384-3033-47A0-8098-11197D569A74}"/>
              </a:ext>
            </a:extLst>
          </p:cNvPr>
          <p:cNvSpPr txBox="1"/>
          <p:nvPr/>
        </p:nvSpPr>
        <p:spPr>
          <a:xfrm>
            <a:off x="8546471" y="6516527"/>
            <a:ext cx="3547541" cy="276999"/>
          </a:xfrm>
          <a:prstGeom prst="rect">
            <a:avLst/>
          </a:prstGeom>
          <a:noFill/>
        </p:spPr>
        <p:txBody>
          <a:bodyPr wrap="square" rtlCol="0">
            <a:spAutoFit/>
          </a:bodyPr>
          <a:lstStyle/>
          <a:p>
            <a:pPr algn="ctr"/>
            <a:r>
              <a:rPr lang="cs-CZ" sz="1200" dirty="0"/>
              <a:t>Zdroj: </a:t>
            </a:r>
            <a:r>
              <a:rPr lang="cs-CZ" sz="1200" dirty="0" err="1"/>
              <a:t>Covid</a:t>
            </a:r>
            <a:r>
              <a:rPr lang="cs-CZ" sz="1200" dirty="0"/>
              <a:t> </a:t>
            </a:r>
            <a:r>
              <a:rPr lang="cs-CZ" sz="1200" dirty="0" err="1"/>
              <a:t>Forms</a:t>
            </a:r>
            <a:r>
              <a:rPr lang="cs-CZ" sz="1200" dirty="0"/>
              <a:t> – Události, </a:t>
            </a:r>
            <a:r>
              <a:rPr lang="cs-CZ" sz="1200" b="1" dirty="0">
                <a:solidFill>
                  <a:srgbClr val="C00000"/>
                </a:solidFill>
              </a:rPr>
              <a:t>stav k 4. 6. 2021</a:t>
            </a:r>
          </a:p>
        </p:txBody>
      </p:sp>
      <p:sp>
        <p:nvSpPr>
          <p:cNvPr id="17" name="TextovéPole 16">
            <a:extLst>
              <a:ext uri="{FF2B5EF4-FFF2-40B4-BE49-F238E27FC236}">
                <a16:creationId xmlns:a16="http://schemas.microsoft.com/office/drawing/2014/main" id="{3463BB84-DC98-4C1D-B439-5C942A8304CE}"/>
              </a:ext>
            </a:extLst>
          </p:cNvPr>
          <p:cNvSpPr txBox="1"/>
          <p:nvPr/>
        </p:nvSpPr>
        <p:spPr>
          <a:xfrm>
            <a:off x="266699" y="889804"/>
            <a:ext cx="66895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 u jednoho školského zařízení může být zaznamenáno a nahlášeno více událostí za sledované období</a:t>
            </a:r>
          </a:p>
        </p:txBody>
      </p:sp>
    </p:spTree>
    <p:extLst>
      <p:ext uri="{BB962C8B-B14F-4D97-AF65-F5344CB8AC3E}">
        <p14:creationId xmlns:p14="http://schemas.microsoft.com/office/powerpoint/2010/main" val="3485006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719673" cy="576000"/>
          </a:xfrm>
        </p:spPr>
        <p:txBody>
          <a:bodyPr/>
          <a:lstStyle/>
          <a:p>
            <a:r>
              <a:rPr lang="cs-CZ" dirty="0"/>
              <a:t>Úvod – zdroje dat a koncepce analýz </a:t>
            </a:r>
          </a:p>
        </p:txBody>
      </p:sp>
      <p:pic>
        <p:nvPicPr>
          <p:cNvPr id="12" name="Obrázek 11"/>
          <p:cNvPicPr>
            <a:picLocks noChangeAspect="1"/>
          </p:cNvPicPr>
          <p:nvPr/>
        </p:nvPicPr>
        <p:blipFill rotWithShape="1">
          <a:blip r:embed="rId2"/>
          <a:srcRect l="29757"/>
          <a:stretch/>
        </p:blipFill>
        <p:spPr>
          <a:xfrm>
            <a:off x="1762433" y="4150796"/>
            <a:ext cx="2770419" cy="2283052"/>
          </a:xfrm>
          <a:prstGeom prst="rect">
            <a:avLst/>
          </a:prstGeom>
        </p:spPr>
      </p:pic>
      <p:pic>
        <p:nvPicPr>
          <p:cNvPr id="13" name="Obrázek 12"/>
          <p:cNvPicPr>
            <a:picLocks noChangeAspect="1"/>
          </p:cNvPicPr>
          <p:nvPr/>
        </p:nvPicPr>
        <p:blipFill>
          <a:blip r:embed="rId3"/>
          <a:stretch>
            <a:fillRect/>
          </a:stretch>
        </p:blipFill>
        <p:spPr>
          <a:xfrm>
            <a:off x="1486201" y="896112"/>
            <a:ext cx="3168556" cy="2484490"/>
          </a:xfrm>
          <a:prstGeom prst="rect">
            <a:avLst/>
          </a:prstGeom>
        </p:spPr>
      </p:pic>
      <p:sp>
        <p:nvSpPr>
          <p:cNvPr id="14" name="Šipka nahoru, doprava i doleva 13"/>
          <p:cNvSpPr/>
          <p:nvPr/>
        </p:nvSpPr>
        <p:spPr>
          <a:xfrm rot="16200000">
            <a:off x="-2074261" y="3478063"/>
            <a:ext cx="6194017" cy="467360"/>
          </a:xfrm>
          <a:prstGeom prst="leftRightUp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Nadpis 5">
            <a:extLst>
              <a:ext uri="{FF2B5EF4-FFF2-40B4-BE49-F238E27FC236}">
                <a16:creationId xmlns:a16="http://schemas.microsoft.com/office/drawing/2014/main" id="{8181A883-E687-47DC-A882-8FB561F92926}"/>
              </a:ext>
            </a:extLst>
          </p:cNvPr>
          <p:cNvSpPr txBox="1">
            <a:spLocks/>
          </p:cNvSpPr>
          <p:nvPr/>
        </p:nvSpPr>
        <p:spPr>
          <a:xfrm rot="16200000">
            <a:off x="-2606131" y="3332358"/>
            <a:ext cx="5971034" cy="7587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t>COVID-19: Online dispečink intenzivní péče</a:t>
            </a:r>
            <a:b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br>
            <a:r>
              <a:rPr kumimoji="0" lang="cs-CZ" sz="1800" b="0" i="0" u="none" strike="noStrike" kern="1200" cap="none" spc="0" normalizeH="0" baseline="0" noProof="0" dirty="0" err="1">
                <a:ln>
                  <a:noFill/>
                </a:ln>
                <a:solidFill>
                  <a:srgbClr val="2E5982"/>
                </a:solidFill>
                <a:effectLst/>
                <a:uLnTx/>
                <a:uFillTx/>
                <a:latin typeface="Roboto" pitchFamily="2" charset="0"/>
                <a:ea typeface="Roboto" pitchFamily="2" charset="0"/>
                <a:cs typeface="+mj-cs"/>
              </a:rPr>
              <a:t>Reportovací</a:t>
            </a:r>
            <a:r>
              <a:rPr kumimoji="0" lang="cs-CZ" sz="1800" b="0" i="0" u="none" strike="noStrike" kern="1200" cap="none" spc="0" normalizeH="0" baseline="0" noProof="0" dirty="0">
                <a:ln>
                  <a:noFill/>
                </a:ln>
                <a:solidFill>
                  <a:srgbClr val="2E5982"/>
                </a:solidFill>
                <a:effectLst/>
                <a:uLnTx/>
                <a:uFillTx/>
                <a:latin typeface="Roboto" pitchFamily="2" charset="0"/>
                <a:ea typeface="Roboto" pitchFamily="2" charset="0"/>
                <a:cs typeface="+mj-cs"/>
              </a:rPr>
              <a:t> systém pro nemocnice a regiony ČR</a:t>
            </a:r>
          </a:p>
        </p:txBody>
      </p:sp>
      <p:sp>
        <p:nvSpPr>
          <p:cNvPr id="16" name="Nadpis 5">
            <a:extLst>
              <a:ext uri="{FF2B5EF4-FFF2-40B4-BE49-F238E27FC236}">
                <a16:creationId xmlns:a16="http://schemas.microsoft.com/office/drawing/2014/main" id="{8181A883-E687-47DC-A882-8FB561F92926}"/>
              </a:ext>
            </a:extLst>
          </p:cNvPr>
          <p:cNvSpPr txBox="1">
            <a:spLocks/>
          </p:cNvSpPr>
          <p:nvPr/>
        </p:nvSpPr>
        <p:spPr>
          <a:xfrm rot="19492727">
            <a:off x="4215712" y="1258975"/>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Epidemická šetření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záznamy o ohniscích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22" name="Nadpis 5">
            <a:extLst>
              <a:ext uri="{FF2B5EF4-FFF2-40B4-BE49-F238E27FC236}">
                <a16:creationId xmlns:a16="http://schemas.microsoft.com/office/drawing/2014/main" id="{8181A883-E687-47DC-A882-8FB561F92926}"/>
              </a:ext>
            </a:extLst>
          </p:cNvPr>
          <p:cNvSpPr txBox="1">
            <a:spLocks/>
          </p:cNvSpPr>
          <p:nvPr/>
        </p:nvSpPr>
        <p:spPr>
          <a:xfrm rot="19477356">
            <a:off x="4103084" y="4232334"/>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Centrální systém ISIN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jeho komponenty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3" name="TextovéPole 2"/>
          <p:cNvSpPr txBox="1"/>
          <p:nvPr/>
        </p:nvSpPr>
        <p:spPr>
          <a:xfrm>
            <a:off x="5852160" y="4864188"/>
            <a:ext cx="597103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Individuální data o nákazách dětí různého věku a pedagogů. Zdrojem dat je Informační systém infekčních nemocí a laboratorní infomační systémy. Individuální pacient nemusí být spojen s konkrétním ohniskem nebo pracovištěm, nákaza může proběhnout v rodině, v běžném životě, při volnočasových aktivitách, …. </a:t>
            </a:r>
          </a:p>
        </p:txBody>
      </p:sp>
      <p:sp>
        <p:nvSpPr>
          <p:cNvPr id="23" name="TextovéPole 22"/>
          <p:cNvSpPr txBox="1"/>
          <p:nvPr/>
        </p:nvSpPr>
        <p:spPr>
          <a:xfrm>
            <a:off x="6263640" y="1638360"/>
            <a:ext cx="5148072"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Ohniska nákazy a jejich identifikace, velikost a rozsah. Popis škol a školních zařízení jako možného zdroje šíření nákazy s identifikací rozsahu tohoto šíření. Srovnání rizikovosti škol s jinými typy ohnisek, provozů a aktivit. Výstup epidemických šetření KHS. </a:t>
            </a:r>
          </a:p>
        </p:txBody>
      </p:sp>
      <p:sp>
        <p:nvSpPr>
          <p:cNvPr id="4" name="TextovéPole 3"/>
          <p:cNvSpPr txBox="1"/>
          <p:nvPr/>
        </p:nvSpPr>
        <p:spPr>
          <a:xfrm>
            <a:off x="8608291" y="972491"/>
            <a:ext cx="3121891" cy="492443"/>
          </a:xfrm>
          <a:prstGeom prst="rect">
            <a:avLst/>
          </a:prstGeom>
          <a:noFill/>
        </p:spPr>
        <p:txBody>
          <a:bodyPr wrap="square" rtlCol="0">
            <a:spAutoFit/>
          </a:bodyPr>
          <a:lstStyle/>
          <a:p>
            <a:pPr algn="ctr"/>
            <a:r>
              <a:rPr lang="cs-CZ" sz="2600" b="1" dirty="0">
                <a:solidFill>
                  <a:schemeClr val="accent2"/>
                </a:solidFill>
              </a:rPr>
              <a:t>Ohniska nákazy </a:t>
            </a:r>
            <a:endParaRPr lang="en-US" sz="2600" b="1" dirty="0">
              <a:solidFill>
                <a:schemeClr val="accent2"/>
              </a:solidFill>
            </a:endParaRPr>
          </a:p>
        </p:txBody>
      </p:sp>
      <p:sp>
        <p:nvSpPr>
          <p:cNvPr id="17" name="TextovéPole 16"/>
          <p:cNvSpPr txBox="1"/>
          <p:nvPr/>
        </p:nvSpPr>
        <p:spPr>
          <a:xfrm>
            <a:off x="8701301" y="4141272"/>
            <a:ext cx="3121891" cy="492443"/>
          </a:xfrm>
          <a:prstGeom prst="rect">
            <a:avLst/>
          </a:prstGeom>
          <a:noFill/>
        </p:spPr>
        <p:txBody>
          <a:bodyPr wrap="square" rtlCol="0">
            <a:spAutoFit/>
          </a:bodyPr>
          <a:lstStyle/>
          <a:p>
            <a:pPr algn="ctr"/>
            <a:r>
              <a:rPr lang="cs-CZ" sz="2600" b="1" dirty="0">
                <a:solidFill>
                  <a:schemeClr val="accent2"/>
                </a:solidFill>
              </a:rPr>
              <a:t>Individuální data</a:t>
            </a:r>
            <a:endParaRPr lang="en-US" sz="2600" b="1" dirty="0">
              <a:solidFill>
                <a:schemeClr val="accent2"/>
              </a:solidFill>
            </a:endParaRPr>
          </a:p>
        </p:txBody>
      </p:sp>
    </p:spTree>
    <p:extLst>
      <p:ext uri="{BB962C8B-B14F-4D97-AF65-F5344CB8AC3E}">
        <p14:creationId xmlns:p14="http://schemas.microsoft.com/office/powerpoint/2010/main" val="405035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0" y="2229167"/>
            <a:ext cx="12192000" cy="1189622"/>
          </a:xfrm>
        </p:spPr>
        <p:txBody>
          <a:bodyPr/>
          <a:lstStyle/>
          <a:p>
            <a:r>
              <a:rPr lang="cs-CZ" dirty="0"/>
              <a:t>Nákaza COVID-19 u pedagogů a pracovníků ve školství –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202436" y="3983074"/>
            <a:ext cx="9787128" cy="1564690"/>
          </a:xfrm>
        </p:spPr>
        <p:txBody>
          <a:bodyPr>
            <a:normAutofit/>
          </a:bodyPr>
          <a:lstStyle/>
          <a:p>
            <a:r>
              <a:rPr lang="cs-CZ" sz="3400" b="1" dirty="0">
                <a:solidFill>
                  <a:schemeClr val="tx1"/>
                </a:solidFill>
              </a:rPr>
              <a:t>Výskyt nákazy COVID-19 u pedagogů </a:t>
            </a:r>
          </a:p>
          <a:p>
            <a:r>
              <a:rPr lang="cs-CZ" sz="3400" b="1" dirty="0">
                <a:solidFill>
                  <a:schemeClr val="tx1"/>
                </a:solidFill>
              </a:rPr>
              <a:t>a pracovníků škol</a:t>
            </a:r>
          </a:p>
        </p:txBody>
      </p:sp>
    </p:spTree>
    <p:extLst>
      <p:ext uri="{BB962C8B-B14F-4D97-AF65-F5344CB8AC3E}">
        <p14:creationId xmlns:p14="http://schemas.microsoft.com/office/powerpoint/2010/main" val="775242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2" y="398147"/>
            <a:ext cx="11068050"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nově COVID-19 pozitivních pedagogů a pracovníků ve školství odráží změny</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řijatých protiepidemických 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217901" y="3683063"/>
            <a:ext cx="11636248" cy="3046988"/>
          </a:xfrm>
          <a:prstGeom prst="rect">
            <a:avLst/>
          </a:prstGeom>
          <a:noFill/>
        </p:spPr>
        <p:txBody>
          <a:bodyPr wrap="square" rtlCol="0">
            <a:spAutoFit/>
          </a:bodyPr>
          <a:lstStyle/>
          <a:p>
            <a:pPr lvl="0" algn="ctr">
              <a:defRPr/>
            </a:pPr>
            <a:r>
              <a:rPr lang="cs-CZ" sz="3200" b="1" dirty="0">
                <a:solidFill>
                  <a:srgbClr val="C00000"/>
                </a:solidFill>
                <a:latin typeface="Calibri" panose="020F0502020204030204"/>
              </a:rPr>
              <a:t>Po uzavření škol (kromě mateřských) od  14.10. došlo k zastavení nárůstu a postupnému poklesu počtu nově pozitivních pedagogů </a:t>
            </a:r>
          </a:p>
          <a:p>
            <a:pPr lvl="0" algn="ctr">
              <a:defRPr/>
            </a:pPr>
            <a:r>
              <a:rPr lang="cs-CZ" sz="3200" b="1" dirty="0">
                <a:solidFill>
                  <a:srgbClr val="C00000"/>
                </a:solidFill>
                <a:latin typeface="Calibri" panose="020F0502020204030204"/>
              </a:rPr>
              <a:t>a pracovníků ve školství. Po návratu části dětí a studentů do škol od 18.11. a od 30.11. byl opět registrován růst s kulminací v prvním týdnu roku 2021, následným poklesem a opětovným růstem v únoru 2021 a dalším poklesem v březnu, dubnu a květnu.</a:t>
            </a:r>
            <a:endParaRPr kumimoji="0" lang="cs-CZ" sz="22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5" name="Šipka dolů 4"/>
          <p:cNvSpPr/>
          <p:nvPr/>
        </p:nvSpPr>
        <p:spPr>
          <a:xfrm>
            <a:off x="5342352" y="2213551"/>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751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79256" y="-31908"/>
            <a:ext cx="7588419" cy="576000"/>
          </a:xfrm>
        </p:spPr>
        <p:txBody>
          <a:bodyPr/>
          <a:lstStyle/>
          <a:p>
            <a:r>
              <a:rPr lang="cs-CZ" sz="1800" dirty="0"/>
              <a:t>Počty nově COVID pozitivních pedagogů a pracovníků ve školství</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610692307"/>
              </p:ext>
            </p:extLst>
          </p:nvPr>
        </p:nvGraphicFramePr>
        <p:xfrm>
          <a:off x="0" y="1193203"/>
          <a:ext cx="12192000" cy="39123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Tabulka 11">
            <a:extLst>
              <a:ext uri="{FF2B5EF4-FFF2-40B4-BE49-F238E27FC236}">
                <a16:creationId xmlns:a16="http://schemas.microsoft.com/office/drawing/2014/main" id="{83CD5083-AAB8-4D0C-88B5-ACD4735FC716}"/>
              </a:ext>
            </a:extLst>
          </p:cNvPr>
          <p:cNvGraphicFramePr>
            <a:graphicFrameLocks noGrp="1"/>
          </p:cNvGraphicFramePr>
          <p:nvPr>
            <p:extLst>
              <p:ext uri="{D42A27DB-BD31-4B8C-83A1-F6EECF244321}">
                <p14:modId xmlns:p14="http://schemas.microsoft.com/office/powerpoint/2010/main" val="2764078961"/>
              </p:ext>
            </p:extLst>
          </p:nvPr>
        </p:nvGraphicFramePr>
        <p:xfrm>
          <a:off x="138198" y="5097090"/>
          <a:ext cx="11968194" cy="1439648"/>
        </p:xfrm>
        <a:graphic>
          <a:graphicData uri="http://schemas.openxmlformats.org/drawingml/2006/table">
            <a:tbl>
              <a:tblPr/>
              <a:tblGrid>
                <a:gridCol w="440035">
                  <a:extLst>
                    <a:ext uri="{9D8B030D-6E8A-4147-A177-3AD203B41FA5}">
                      <a16:colId xmlns:a16="http://schemas.microsoft.com/office/drawing/2014/main" val="4072679681"/>
                    </a:ext>
                  </a:extLst>
                </a:gridCol>
                <a:gridCol w="288204">
                  <a:extLst>
                    <a:ext uri="{9D8B030D-6E8A-4147-A177-3AD203B41FA5}">
                      <a16:colId xmlns:a16="http://schemas.microsoft.com/office/drawing/2014/main" val="3091570815"/>
                    </a:ext>
                  </a:extLst>
                </a:gridCol>
                <a:gridCol w="288204">
                  <a:extLst>
                    <a:ext uri="{9D8B030D-6E8A-4147-A177-3AD203B41FA5}">
                      <a16:colId xmlns:a16="http://schemas.microsoft.com/office/drawing/2014/main" val="2479622941"/>
                    </a:ext>
                  </a:extLst>
                </a:gridCol>
                <a:gridCol w="288204">
                  <a:extLst>
                    <a:ext uri="{9D8B030D-6E8A-4147-A177-3AD203B41FA5}">
                      <a16:colId xmlns:a16="http://schemas.microsoft.com/office/drawing/2014/main" val="571820945"/>
                    </a:ext>
                  </a:extLst>
                </a:gridCol>
                <a:gridCol w="288204">
                  <a:extLst>
                    <a:ext uri="{9D8B030D-6E8A-4147-A177-3AD203B41FA5}">
                      <a16:colId xmlns:a16="http://schemas.microsoft.com/office/drawing/2014/main" val="1903709576"/>
                    </a:ext>
                  </a:extLst>
                </a:gridCol>
                <a:gridCol w="288204">
                  <a:extLst>
                    <a:ext uri="{9D8B030D-6E8A-4147-A177-3AD203B41FA5}">
                      <a16:colId xmlns:a16="http://schemas.microsoft.com/office/drawing/2014/main" val="2467338473"/>
                    </a:ext>
                  </a:extLst>
                </a:gridCol>
                <a:gridCol w="288204">
                  <a:extLst>
                    <a:ext uri="{9D8B030D-6E8A-4147-A177-3AD203B41FA5}">
                      <a16:colId xmlns:a16="http://schemas.microsoft.com/office/drawing/2014/main" val="3705078480"/>
                    </a:ext>
                  </a:extLst>
                </a:gridCol>
                <a:gridCol w="288204">
                  <a:extLst>
                    <a:ext uri="{9D8B030D-6E8A-4147-A177-3AD203B41FA5}">
                      <a16:colId xmlns:a16="http://schemas.microsoft.com/office/drawing/2014/main" val="674593633"/>
                    </a:ext>
                  </a:extLst>
                </a:gridCol>
                <a:gridCol w="288204">
                  <a:extLst>
                    <a:ext uri="{9D8B030D-6E8A-4147-A177-3AD203B41FA5}">
                      <a16:colId xmlns:a16="http://schemas.microsoft.com/office/drawing/2014/main" val="2235009103"/>
                    </a:ext>
                  </a:extLst>
                </a:gridCol>
                <a:gridCol w="288204">
                  <a:extLst>
                    <a:ext uri="{9D8B030D-6E8A-4147-A177-3AD203B41FA5}">
                      <a16:colId xmlns:a16="http://schemas.microsoft.com/office/drawing/2014/main" val="3518328394"/>
                    </a:ext>
                  </a:extLst>
                </a:gridCol>
                <a:gridCol w="288204">
                  <a:extLst>
                    <a:ext uri="{9D8B030D-6E8A-4147-A177-3AD203B41FA5}">
                      <a16:colId xmlns:a16="http://schemas.microsoft.com/office/drawing/2014/main" val="4203563866"/>
                    </a:ext>
                  </a:extLst>
                </a:gridCol>
                <a:gridCol w="288204">
                  <a:extLst>
                    <a:ext uri="{9D8B030D-6E8A-4147-A177-3AD203B41FA5}">
                      <a16:colId xmlns:a16="http://schemas.microsoft.com/office/drawing/2014/main" val="2455430103"/>
                    </a:ext>
                  </a:extLst>
                </a:gridCol>
                <a:gridCol w="288204">
                  <a:extLst>
                    <a:ext uri="{9D8B030D-6E8A-4147-A177-3AD203B41FA5}">
                      <a16:colId xmlns:a16="http://schemas.microsoft.com/office/drawing/2014/main" val="1055503496"/>
                    </a:ext>
                  </a:extLst>
                </a:gridCol>
                <a:gridCol w="288204">
                  <a:extLst>
                    <a:ext uri="{9D8B030D-6E8A-4147-A177-3AD203B41FA5}">
                      <a16:colId xmlns:a16="http://schemas.microsoft.com/office/drawing/2014/main" val="2260476656"/>
                    </a:ext>
                  </a:extLst>
                </a:gridCol>
                <a:gridCol w="288204">
                  <a:extLst>
                    <a:ext uri="{9D8B030D-6E8A-4147-A177-3AD203B41FA5}">
                      <a16:colId xmlns:a16="http://schemas.microsoft.com/office/drawing/2014/main" val="3828375089"/>
                    </a:ext>
                  </a:extLst>
                </a:gridCol>
                <a:gridCol w="288204">
                  <a:extLst>
                    <a:ext uri="{9D8B030D-6E8A-4147-A177-3AD203B41FA5}">
                      <a16:colId xmlns:a16="http://schemas.microsoft.com/office/drawing/2014/main" val="1425166857"/>
                    </a:ext>
                  </a:extLst>
                </a:gridCol>
                <a:gridCol w="284272">
                  <a:extLst>
                    <a:ext uri="{9D8B030D-6E8A-4147-A177-3AD203B41FA5}">
                      <a16:colId xmlns:a16="http://schemas.microsoft.com/office/drawing/2014/main" val="355175260"/>
                    </a:ext>
                  </a:extLst>
                </a:gridCol>
                <a:gridCol w="292135">
                  <a:extLst>
                    <a:ext uri="{9D8B030D-6E8A-4147-A177-3AD203B41FA5}">
                      <a16:colId xmlns:a16="http://schemas.microsoft.com/office/drawing/2014/main" val="173172263"/>
                    </a:ext>
                  </a:extLst>
                </a:gridCol>
                <a:gridCol w="288204">
                  <a:extLst>
                    <a:ext uri="{9D8B030D-6E8A-4147-A177-3AD203B41FA5}">
                      <a16:colId xmlns:a16="http://schemas.microsoft.com/office/drawing/2014/main" val="1223535985"/>
                    </a:ext>
                  </a:extLst>
                </a:gridCol>
                <a:gridCol w="288204">
                  <a:extLst>
                    <a:ext uri="{9D8B030D-6E8A-4147-A177-3AD203B41FA5}">
                      <a16:colId xmlns:a16="http://schemas.microsoft.com/office/drawing/2014/main" val="176982774"/>
                    </a:ext>
                  </a:extLst>
                </a:gridCol>
                <a:gridCol w="288204">
                  <a:extLst>
                    <a:ext uri="{9D8B030D-6E8A-4147-A177-3AD203B41FA5}">
                      <a16:colId xmlns:a16="http://schemas.microsoft.com/office/drawing/2014/main" val="4096791509"/>
                    </a:ext>
                  </a:extLst>
                </a:gridCol>
                <a:gridCol w="288204">
                  <a:extLst>
                    <a:ext uri="{9D8B030D-6E8A-4147-A177-3AD203B41FA5}">
                      <a16:colId xmlns:a16="http://schemas.microsoft.com/office/drawing/2014/main" val="214859704"/>
                    </a:ext>
                  </a:extLst>
                </a:gridCol>
                <a:gridCol w="288204">
                  <a:extLst>
                    <a:ext uri="{9D8B030D-6E8A-4147-A177-3AD203B41FA5}">
                      <a16:colId xmlns:a16="http://schemas.microsoft.com/office/drawing/2014/main" val="2760486626"/>
                    </a:ext>
                  </a:extLst>
                </a:gridCol>
                <a:gridCol w="288204">
                  <a:extLst>
                    <a:ext uri="{9D8B030D-6E8A-4147-A177-3AD203B41FA5}">
                      <a16:colId xmlns:a16="http://schemas.microsoft.com/office/drawing/2014/main" val="3360195942"/>
                    </a:ext>
                  </a:extLst>
                </a:gridCol>
                <a:gridCol w="288204">
                  <a:extLst>
                    <a:ext uri="{9D8B030D-6E8A-4147-A177-3AD203B41FA5}">
                      <a16:colId xmlns:a16="http://schemas.microsoft.com/office/drawing/2014/main" val="3928058291"/>
                    </a:ext>
                  </a:extLst>
                </a:gridCol>
                <a:gridCol w="288204">
                  <a:extLst>
                    <a:ext uri="{9D8B030D-6E8A-4147-A177-3AD203B41FA5}">
                      <a16:colId xmlns:a16="http://schemas.microsoft.com/office/drawing/2014/main" val="763441660"/>
                    </a:ext>
                  </a:extLst>
                </a:gridCol>
                <a:gridCol w="288204">
                  <a:extLst>
                    <a:ext uri="{9D8B030D-6E8A-4147-A177-3AD203B41FA5}">
                      <a16:colId xmlns:a16="http://schemas.microsoft.com/office/drawing/2014/main" val="2475870830"/>
                    </a:ext>
                  </a:extLst>
                </a:gridCol>
                <a:gridCol w="288204">
                  <a:extLst>
                    <a:ext uri="{9D8B030D-6E8A-4147-A177-3AD203B41FA5}">
                      <a16:colId xmlns:a16="http://schemas.microsoft.com/office/drawing/2014/main" val="4150479108"/>
                    </a:ext>
                  </a:extLst>
                </a:gridCol>
                <a:gridCol w="288204">
                  <a:extLst>
                    <a:ext uri="{9D8B030D-6E8A-4147-A177-3AD203B41FA5}">
                      <a16:colId xmlns:a16="http://schemas.microsoft.com/office/drawing/2014/main" val="2459274681"/>
                    </a:ext>
                  </a:extLst>
                </a:gridCol>
                <a:gridCol w="288204">
                  <a:extLst>
                    <a:ext uri="{9D8B030D-6E8A-4147-A177-3AD203B41FA5}">
                      <a16:colId xmlns:a16="http://schemas.microsoft.com/office/drawing/2014/main" val="2498559671"/>
                    </a:ext>
                  </a:extLst>
                </a:gridCol>
                <a:gridCol w="288204">
                  <a:extLst>
                    <a:ext uri="{9D8B030D-6E8A-4147-A177-3AD203B41FA5}">
                      <a16:colId xmlns:a16="http://schemas.microsoft.com/office/drawing/2014/main" val="742526653"/>
                    </a:ext>
                  </a:extLst>
                </a:gridCol>
                <a:gridCol w="288204">
                  <a:extLst>
                    <a:ext uri="{9D8B030D-6E8A-4147-A177-3AD203B41FA5}">
                      <a16:colId xmlns:a16="http://schemas.microsoft.com/office/drawing/2014/main" val="2263903858"/>
                    </a:ext>
                  </a:extLst>
                </a:gridCol>
                <a:gridCol w="288204">
                  <a:extLst>
                    <a:ext uri="{9D8B030D-6E8A-4147-A177-3AD203B41FA5}">
                      <a16:colId xmlns:a16="http://schemas.microsoft.com/office/drawing/2014/main" val="1026916378"/>
                    </a:ext>
                  </a:extLst>
                </a:gridCol>
                <a:gridCol w="288204">
                  <a:extLst>
                    <a:ext uri="{9D8B030D-6E8A-4147-A177-3AD203B41FA5}">
                      <a16:colId xmlns:a16="http://schemas.microsoft.com/office/drawing/2014/main" val="3916247777"/>
                    </a:ext>
                  </a:extLst>
                </a:gridCol>
                <a:gridCol w="288204">
                  <a:extLst>
                    <a:ext uri="{9D8B030D-6E8A-4147-A177-3AD203B41FA5}">
                      <a16:colId xmlns:a16="http://schemas.microsoft.com/office/drawing/2014/main" val="2418713991"/>
                    </a:ext>
                  </a:extLst>
                </a:gridCol>
                <a:gridCol w="288204">
                  <a:extLst>
                    <a:ext uri="{9D8B030D-6E8A-4147-A177-3AD203B41FA5}">
                      <a16:colId xmlns:a16="http://schemas.microsoft.com/office/drawing/2014/main" val="3396743517"/>
                    </a:ext>
                  </a:extLst>
                </a:gridCol>
                <a:gridCol w="288204">
                  <a:extLst>
                    <a:ext uri="{9D8B030D-6E8A-4147-A177-3AD203B41FA5}">
                      <a16:colId xmlns:a16="http://schemas.microsoft.com/office/drawing/2014/main" val="3717214002"/>
                    </a:ext>
                  </a:extLst>
                </a:gridCol>
                <a:gridCol w="288204">
                  <a:extLst>
                    <a:ext uri="{9D8B030D-6E8A-4147-A177-3AD203B41FA5}">
                      <a16:colId xmlns:a16="http://schemas.microsoft.com/office/drawing/2014/main" val="272219125"/>
                    </a:ext>
                  </a:extLst>
                </a:gridCol>
                <a:gridCol w="288204">
                  <a:extLst>
                    <a:ext uri="{9D8B030D-6E8A-4147-A177-3AD203B41FA5}">
                      <a16:colId xmlns:a16="http://schemas.microsoft.com/office/drawing/2014/main" val="1480803499"/>
                    </a:ext>
                  </a:extLst>
                </a:gridCol>
                <a:gridCol w="288204">
                  <a:extLst>
                    <a:ext uri="{9D8B030D-6E8A-4147-A177-3AD203B41FA5}">
                      <a16:colId xmlns:a16="http://schemas.microsoft.com/office/drawing/2014/main" val="1890639123"/>
                    </a:ext>
                  </a:extLst>
                </a:gridCol>
                <a:gridCol w="288204">
                  <a:extLst>
                    <a:ext uri="{9D8B030D-6E8A-4147-A177-3AD203B41FA5}">
                      <a16:colId xmlns:a16="http://schemas.microsoft.com/office/drawing/2014/main" val="391402060"/>
                    </a:ext>
                  </a:extLst>
                </a:gridCol>
              </a:tblGrid>
              <a:tr h="402613">
                <a:tc>
                  <a:txBody>
                    <a:bodyPr/>
                    <a:lstStyle/>
                    <a:p>
                      <a:pPr algn="l" fontAlgn="b"/>
                      <a:endParaRPr lang="cs-CZ"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31.5.–</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4.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58262035"/>
                  </a:ext>
                </a:extLst>
              </a:tr>
              <a:tr h="207407">
                <a:tc>
                  <a:txBody>
                    <a:bodyPr/>
                    <a:lstStyle/>
                    <a:p>
                      <a:pPr algn="l" fontAlgn="ctr"/>
                      <a:r>
                        <a:rPr lang="cs-CZ" sz="900" b="1" i="0" u="none" strike="noStrike" dirty="0">
                          <a:solidFill>
                            <a:srgbClr val="000000"/>
                          </a:solidFill>
                          <a:effectLst/>
                          <a:latin typeface="Calibri" panose="020F0502020204030204" pitchFamily="34" charset="0"/>
                        </a:rPr>
                        <a:t>do 2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0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7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3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8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4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0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2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54006327"/>
                  </a:ext>
                </a:extLst>
              </a:tr>
              <a:tr h="207407">
                <a:tc>
                  <a:txBody>
                    <a:bodyPr/>
                    <a:lstStyle/>
                    <a:p>
                      <a:pPr algn="l" fontAlgn="ctr"/>
                      <a:r>
                        <a:rPr lang="cs-CZ" sz="900" b="1" i="0" u="none" strike="noStrike" dirty="0">
                          <a:solidFill>
                            <a:srgbClr val="000000"/>
                          </a:solidFill>
                          <a:effectLst/>
                          <a:latin typeface="Calibri" panose="020F0502020204030204" pitchFamily="34" charset="0"/>
                        </a:rPr>
                        <a:t>30-4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7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5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9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7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1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8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4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5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7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4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0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8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5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6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1847039"/>
                  </a:ext>
                </a:extLst>
              </a:tr>
              <a:tr h="207407">
                <a:tc>
                  <a:txBody>
                    <a:bodyPr/>
                    <a:lstStyle/>
                    <a:p>
                      <a:pPr algn="l" fontAlgn="ctr"/>
                      <a:r>
                        <a:rPr lang="cs-CZ" sz="900" b="1" i="0" u="none" strike="noStrike">
                          <a:solidFill>
                            <a:srgbClr val="000000"/>
                          </a:solidFill>
                          <a:effectLst/>
                          <a:latin typeface="Calibri" panose="020F0502020204030204" pitchFamily="34" charset="0"/>
                        </a:rPr>
                        <a:t>50-64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8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7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9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4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2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6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4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7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5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1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0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2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8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9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1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49002880"/>
                  </a:ext>
                </a:extLst>
              </a:tr>
              <a:tr h="207407">
                <a:tc>
                  <a:txBody>
                    <a:bodyPr/>
                    <a:lstStyle/>
                    <a:p>
                      <a:pPr algn="l" fontAlgn="ctr"/>
                      <a:r>
                        <a:rPr lang="cs-CZ" sz="900" b="1" i="0" u="none" strike="noStrike" dirty="0">
                          <a:solidFill>
                            <a:srgbClr val="000000"/>
                          </a:solidFill>
                          <a:effectLst/>
                          <a:latin typeface="Calibri" panose="020F0502020204030204" pitchFamily="34" charset="0"/>
                        </a:rPr>
                        <a:t>65+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30446599"/>
                  </a:ext>
                </a:extLst>
              </a:tr>
              <a:tr h="207407">
                <a:tc>
                  <a:txBody>
                    <a:bodyPr/>
                    <a:lstStyle/>
                    <a:p>
                      <a:pPr algn="l" fontAlgn="ctr"/>
                      <a:r>
                        <a:rPr lang="cs-CZ" sz="9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9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2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0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3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9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1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34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9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1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7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63</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5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8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32</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3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2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9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5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5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1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744</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0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2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4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1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3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6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9</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6</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78</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1</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5</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7</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20</a:t>
                      </a:r>
                    </a:p>
                  </a:txBody>
                  <a:tcPr marL="9525" marR="9525" marT="0"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993617800"/>
                  </a:ext>
                </a:extLst>
              </a:tr>
            </a:tbl>
          </a:graphicData>
        </a:graphic>
      </p:graphicFrame>
      <p:sp>
        <p:nvSpPr>
          <p:cNvPr id="35" name="Obdélník 34">
            <a:extLst>
              <a:ext uri="{FF2B5EF4-FFF2-40B4-BE49-F238E27FC236}">
                <a16:creationId xmlns:a16="http://schemas.microsoft.com/office/drawing/2014/main" id="{7AC1D0CE-5532-4291-872E-5D89A2E040AB}"/>
              </a:ext>
            </a:extLst>
          </p:cNvPr>
          <p:cNvSpPr/>
          <p:nvPr/>
        </p:nvSpPr>
        <p:spPr>
          <a:xfrm>
            <a:off x="2780565" y="191470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3 %</a:t>
            </a:r>
          </a:p>
        </p:txBody>
      </p:sp>
      <p:sp>
        <p:nvSpPr>
          <p:cNvPr id="37" name="Obdélník 36">
            <a:extLst>
              <a:ext uri="{FF2B5EF4-FFF2-40B4-BE49-F238E27FC236}">
                <a16:creationId xmlns:a16="http://schemas.microsoft.com/office/drawing/2014/main" id="{EB281DBB-E58E-41F7-8A4C-C102E1F549FA}"/>
              </a:ext>
            </a:extLst>
          </p:cNvPr>
          <p:cNvSpPr/>
          <p:nvPr/>
        </p:nvSpPr>
        <p:spPr>
          <a:xfrm>
            <a:off x="3041211" y="2598152"/>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9,1 %</a:t>
            </a:r>
          </a:p>
        </p:txBody>
      </p:sp>
      <p:sp>
        <p:nvSpPr>
          <p:cNvPr id="39" name="Obdélník 38">
            <a:extLst>
              <a:ext uri="{FF2B5EF4-FFF2-40B4-BE49-F238E27FC236}">
                <a16:creationId xmlns:a16="http://schemas.microsoft.com/office/drawing/2014/main" id="{23F8A38D-21A2-4855-82E0-F7ED47B86F50}"/>
              </a:ext>
            </a:extLst>
          </p:cNvPr>
          <p:cNvSpPr/>
          <p:nvPr/>
        </p:nvSpPr>
        <p:spPr>
          <a:xfrm>
            <a:off x="3301857" y="327726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43,8 %</a:t>
            </a:r>
          </a:p>
        </p:txBody>
      </p:sp>
      <p:sp>
        <p:nvSpPr>
          <p:cNvPr id="41" name="Obdélník 40">
            <a:extLst>
              <a:ext uri="{FF2B5EF4-FFF2-40B4-BE49-F238E27FC236}">
                <a16:creationId xmlns:a16="http://schemas.microsoft.com/office/drawing/2014/main" id="{6D87B8EB-995F-4707-86C3-5F92E8C0B931}"/>
              </a:ext>
            </a:extLst>
          </p:cNvPr>
          <p:cNvSpPr/>
          <p:nvPr/>
        </p:nvSpPr>
        <p:spPr>
          <a:xfrm>
            <a:off x="3562503" y="350411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8 %</a:t>
            </a:r>
          </a:p>
        </p:txBody>
      </p:sp>
      <p:sp>
        <p:nvSpPr>
          <p:cNvPr id="43" name="Obdélník 42">
            <a:extLst>
              <a:ext uri="{FF2B5EF4-FFF2-40B4-BE49-F238E27FC236}">
                <a16:creationId xmlns:a16="http://schemas.microsoft.com/office/drawing/2014/main" id="{AE3AF5CD-57D6-43B9-B0B0-11191357E048}"/>
              </a:ext>
            </a:extLst>
          </p:cNvPr>
          <p:cNvSpPr/>
          <p:nvPr/>
        </p:nvSpPr>
        <p:spPr>
          <a:xfrm>
            <a:off x="3823149" y="3596413"/>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2,4 %</a:t>
            </a:r>
          </a:p>
        </p:txBody>
      </p:sp>
      <p:sp>
        <p:nvSpPr>
          <p:cNvPr id="44" name="Obdélník 43">
            <a:extLst>
              <a:ext uri="{FF2B5EF4-FFF2-40B4-BE49-F238E27FC236}">
                <a16:creationId xmlns:a16="http://schemas.microsoft.com/office/drawing/2014/main" id="{015EA98C-D5E7-4661-9494-CDAF133E630C}"/>
              </a:ext>
            </a:extLst>
          </p:cNvPr>
          <p:cNvSpPr/>
          <p:nvPr/>
        </p:nvSpPr>
        <p:spPr>
          <a:xfrm>
            <a:off x="4083795" y="3387043"/>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30,7 %</a:t>
            </a:r>
          </a:p>
        </p:txBody>
      </p:sp>
      <p:sp>
        <p:nvSpPr>
          <p:cNvPr id="23" name="TextovéPole 22">
            <a:extLst>
              <a:ext uri="{FF2B5EF4-FFF2-40B4-BE49-F238E27FC236}">
                <a16:creationId xmlns:a16="http://schemas.microsoft.com/office/drawing/2014/main" id="{375A5F80-9894-4388-8026-F78045B481C2}"/>
              </a:ext>
            </a:extLst>
          </p:cNvPr>
          <p:cNvSpPr txBox="1"/>
          <p:nvPr/>
        </p:nvSpPr>
        <p:spPr>
          <a:xfrm>
            <a:off x="2162175" y="6581244"/>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Obdélník 25">
            <a:extLst>
              <a:ext uri="{FF2B5EF4-FFF2-40B4-BE49-F238E27FC236}">
                <a16:creationId xmlns:a16="http://schemas.microsoft.com/office/drawing/2014/main" id="{F285CACA-DC1B-4F7F-89E6-6C430EDE93F2}"/>
              </a:ext>
            </a:extLst>
          </p:cNvPr>
          <p:cNvSpPr/>
          <p:nvPr/>
        </p:nvSpPr>
        <p:spPr>
          <a:xfrm>
            <a:off x="4344441" y="2915508"/>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55,1 %</a:t>
            </a:r>
          </a:p>
        </p:txBody>
      </p:sp>
      <p:sp>
        <p:nvSpPr>
          <p:cNvPr id="32" name="Obdélník 31">
            <a:extLst>
              <a:ext uri="{FF2B5EF4-FFF2-40B4-BE49-F238E27FC236}">
                <a16:creationId xmlns:a16="http://schemas.microsoft.com/office/drawing/2014/main" id="{BDB32579-BA3A-4265-A1C4-16862A0C93F1}"/>
              </a:ext>
            </a:extLst>
          </p:cNvPr>
          <p:cNvSpPr/>
          <p:nvPr/>
        </p:nvSpPr>
        <p:spPr>
          <a:xfrm>
            <a:off x="4133939" y="690978"/>
            <a:ext cx="2135336"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4" name="Přímá spojnice se šipkou 33">
            <a:extLst>
              <a:ext uri="{FF2B5EF4-FFF2-40B4-BE49-F238E27FC236}">
                <a16:creationId xmlns:a16="http://schemas.microsoft.com/office/drawing/2014/main" id="{D8DF31AA-07DD-41F7-905A-3E40CC47D058}"/>
              </a:ext>
            </a:extLst>
          </p:cNvPr>
          <p:cNvCxnSpPr>
            <a:cxnSpLocks/>
          </p:cNvCxnSpPr>
          <p:nvPr/>
        </p:nvCxnSpPr>
        <p:spPr>
          <a:xfrm>
            <a:off x="4442866" y="1395408"/>
            <a:ext cx="0" cy="129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76DA1051-6B0B-406D-A424-F604FD1C178C}"/>
              </a:ext>
            </a:extLst>
          </p:cNvPr>
          <p:cNvCxnSpPr>
            <a:cxnSpLocks/>
          </p:cNvCxnSpPr>
          <p:nvPr/>
        </p:nvCxnSpPr>
        <p:spPr>
          <a:xfrm flipH="1">
            <a:off x="4198587" y="1395407"/>
            <a:ext cx="1" cy="16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3EAD4DD9-2DEB-417E-A629-1B9B9C00B13F}"/>
              </a:ext>
            </a:extLst>
          </p:cNvPr>
          <p:cNvCxnSpPr>
            <a:cxnSpLocks/>
          </p:cNvCxnSpPr>
          <p:nvPr/>
        </p:nvCxnSpPr>
        <p:spPr>
          <a:xfrm>
            <a:off x="2400522" y="1286743"/>
            <a:ext cx="0" cy="6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Obdélník 39">
            <a:extLst>
              <a:ext uri="{FF2B5EF4-FFF2-40B4-BE49-F238E27FC236}">
                <a16:creationId xmlns:a16="http://schemas.microsoft.com/office/drawing/2014/main" id="{95AA931B-FD01-462A-9523-C6AF06AA18CB}"/>
              </a:ext>
            </a:extLst>
          </p:cNvPr>
          <p:cNvSpPr/>
          <p:nvPr/>
        </p:nvSpPr>
        <p:spPr>
          <a:xfrm>
            <a:off x="1284157" y="750715"/>
            <a:ext cx="1370397"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42" name="Obdélník 41">
            <a:extLst>
              <a:ext uri="{FF2B5EF4-FFF2-40B4-BE49-F238E27FC236}">
                <a16:creationId xmlns:a16="http://schemas.microsoft.com/office/drawing/2014/main" id="{7032162D-2D5B-43D1-B88D-BD958389935F}"/>
              </a:ext>
            </a:extLst>
          </p:cNvPr>
          <p:cNvSpPr/>
          <p:nvPr/>
        </p:nvSpPr>
        <p:spPr>
          <a:xfrm>
            <a:off x="2636689" y="705194"/>
            <a:ext cx="1412823"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45" name="Přímá spojnice se šipkou 44">
            <a:extLst>
              <a:ext uri="{FF2B5EF4-FFF2-40B4-BE49-F238E27FC236}">
                <a16:creationId xmlns:a16="http://schemas.microsoft.com/office/drawing/2014/main" id="{869C9D99-1CA9-43B1-A6E6-FA9338386BC7}"/>
              </a:ext>
            </a:extLst>
          </p:cNvPr>
          <p:cNvCxnSpPr>
            <a:cxnSpLocks/>
          </p:cNvCxnSpPr>
          <p:nvPr/>
        </p:nvCxnSpPr>
        <p:spPr>
          <a:xfrm>
            <a:off x="3704194" y="1381155"/>
            <a:ext cx="0" cy="183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Obdélník 47">
            <a:extLst>
              <a:ext uri="{FF2B5EF4-FFF2-40B4-BE49-F238E27FC236}">
                <a16:creationId xmlns:a16="http://schemas.microsoft.com/office/drawing/2014/main" id="{70D8DFAE-A75D-474A-8593-8490641CCCD0}"/>
              </a:ext>
            </a:extLst>
          </p:cNvPr>
          <p:cNvSpPr/>
          <p:nvPr/>
        </p:nvSpPr>
        <p:spPr>
          <a:xfrm>
            <a:off x="4605087" y="2582871"/>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6 %</a:t>
            </a:r>
          </a:p>
        </p:txBody>
      </p:sp>
      <p:sp>
        <p:nvSpPr>
          <p:cNvPr id="50" name="Obdélník 49">
            <a:extLst>
              <a:ext uri="{FF2B5EF4-FFF2-40B4-BE49-F238E27FC236}">
                <a16:creationId xmlns:a16="http://schemas.microsoft.com/office/drawing/2014/main" id="{E0BADEA8-BA57-4348-8496-837F57BF3D75}"/>
              </a:ext>
            </a:extLst>
          </p:cNvPr>
          <p:cNvSpPr/>
          <p:nvPr/>
        </p:nvSpPr>
        <p:spPr>
          <a:xfrm>
            <a:off x="4865733" y="284509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6,6 %</a:t>
            </a:r>
          </a:p>
        </p:txBody>
      </p:sp>
      <p:sp>
        <p:nvSpPr>
          <p:cNvPr id="52" name="Obdélník 51">
            <a:extLst>
              <a:ext uri="{FF2B5EF4-FFF2-40B4-BE49-F238E27FC236}">
                <a16:creationId xmlns:a16="http://schemas.microsoft.com/office/drawing/2014/main" id="{0C8CE6F5-9CC6-498E-91FB-576D93A4D94C}"/>
              </a:ext>
            </a:extLst>
          </p:cNvPr>
          <p:cNvSpPr/>
          <p:nvPr/>
        </p:nvSpPr>
        <p:spPr>
          <a:xfrm>
            <a:off x="7472193" y="232007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0,9 %</a:t>
            </a:r>
          </a:p>
        </p:txBody>
      </p:sp>
      <p:sp>
        <p:nvSpPr>
          <p:cNvPr id="54" name="Obdélník 53">
            <a:extLst>
              <a:ext uri="{FF2B5EF4-FFF2-40B4-BE49-F238E27FC236}">
                <a16:creationId xmlns:a16="http://schemas.microsoft.com/office/drawing/2014/main" id="{39235DEA-3896-46EB-A34B-414D0876DFC6}"/>
              </a:ext>
            </a:extLst>
          </p:cNvPr>
          <p:cNvSpPr/>
          <p:nvPr/>
        </p:nvSpPr>
        <p:spPr>
          <a:xfrm>
            <a:off x="4913811" y="1405923"/>
            <a:ext cx="1412376" cy="307777"/>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2020 </a:t>
            </a:r>
            <a:r>
              <a:rPr lang="cs-CZ" sz="1000" b="1" i="1" dirty="0">
                <a:solidFill>
                  <a:srgbClr val="000000"/>
                </a:solidFill>
              </a:rPr>
              <a:t>vánoční školní prázdniny</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Obdélník 57">
            <a:extLst>
              <a:ext uri="{FF2B5EF4-FFF2-40B4-BE49-F238E27FC236}">
                <a16:creationId xmlns:a16="http://schemas.microsoft.com/office/drawing/2014/main" id="{8C81454E-32E1-4051-B6E7-8ED1C357978A}"/>
              </a:ext>
            </a:extLst>
          </p:cNvPr>
          <p:cNvSpPr/>
          <p:nvPr/>
        </p:nvSpPr>
        <p:spPr>
          <a:xfrm>
            <a:off x="5126379" y="243791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9,0 %</a:t>
            </a:r>
          </a:p>
        </p:txBody>
      </p:sp>
      <p:sp>
        <p:nvSpPr>
          <p:cNvPr id="60" name="Obdélník 59">
            <a:extLst>
              <a:ext uri="{FF2B5EF4-FFF2-40B4-BE49-F238E27FC236}">
                <a16:creationId xmlns:a16="http://schemas.microsoft.com/office/drawing/2014/main" id="{FE5B4EB7-44E0-4EE9-9F73-BA385A34DD43}"/>
              </a:ext>
            </a:extLst>
          </p:cNvPr>
          <p:cNvSpPr/>
          <p:nvPr/>
        </p:nvSpPr>
        <p:spPr>
          <a:xfrm>
            <a:off x="5387025" y="1991057"/>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4,4 %</a:t>
            </a:r>
          </a:p>
        </p:txBody>
      </p:sp>
      <p:sp>
        <p:nvSpPr>
          <p:cNvPr id="61" name="Obdélník 60">
            <a:extLst>
              <a:ext uri="{FF2B5EF4-FFF2-40B4-BE49-F238E27FC236}">
                <a16:creationId xmlns:a16="http://schemas.microsoft.com/office/drawing/2014/main" id="{11C05CDE-BE40-4A97-8029-61063908FC2F}"/>
              </a:ext>
            </a:extLst>
          </p:cNvPr>
          <p:cNvSpPr/>
          <p:nvPr/>
        </p:nvSpPr>
        <p:spPr>
          <a:xfrm>
            <a:off x="6168963" y="2884842"/>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1,7 %</a:t>
            </a:r>
          </a:p>
        </p:txBody>
      </p:sp>
      <p:sp>
        <p:nvSpPr>
          <p:cNvPr id="66" name="Obdélník 65">
            <a:extLst>
              <a:ext uri="{FF2B5EF4-FFF2-40B4-BE49-F238E27FC236}">
                <a16:creationId xmlns:a16="http://schemas.microsoft.com/office/drawing/2014/main" id="{6887A429-A1D6-4039-8D58-5196247FADBC}"/>
              </a:ext>
            </a:extLst>
          </p:cNvPr>
          <p:cNvSpPr/>
          <p:nvPr/>
        </p:nvSpPr>
        <p:spPr>
          <a:xfrm>
            <a:off x="10836701" y="4705898"/>
            <a:ext cx="243978" cy="276999"/>
          </a:xfrm>
          <a:prstGeom prst="rect">
            <a:avLst/>
          </a:prstGeom>
        </p:spPr>
        <p:txBody>
          <a:bodyPr wrap="none">
            <a:spAutoFit/>
          </a:bodyPr>
          <a:lstStyle/>
          <a:p>
            <a:r>
              <a:rPr lang="cs-CZ" sz="1200" dirty="0">
                <a:solidFill>
                  <a:srgbClr val="000000"/>
                </a:solidFill>
              </a:rPr>
              <a:t>*</a:t>
            </a:r>
            <a:endParaRPr lang="cs-CZ" dirty="0"/>
          </a:p>
        </p:txBody>
      </p:sp>
      <p:sp>
        <p:nvSpPr>
          <p:cNvPr id="67" name="Obdélník 66">
            <a:extLst>
              <a:ext uri="{FF2B5EF4-FFF2-40B4-BE49-F238E27FC236}">
                <a16:creationId xmlns:a16="http://schemas.microsoft.com/office/drawing/2014/main" id="{FD66BA2F-CDE8-400D-9D1C-887D35AF4E37}"/>
              </a:ext>
            </a:extLst>
          </p:cNvPr>
          <p:cNvSpPr/>
          <p:nvPr/>
        </p:nvSpPr>
        <p:spPr>
          <a:xfrm>
            <a:off x="11189915" y="4384312"/>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
        <p:nvSpPr>
          <p:cNvPr id="69" name="Obdélník 68">
            <a:extLst>
              <a:ext uri="{FF2B5EF4-FFF2-40B4-BE49-F238E27FC236}">
                <a16:creationId xmlns:a16="http://schemas.microsoft.com/office/drawing/2014/main" id="{FFC4AF65-0258-4952-A1EB-EF94DB8426A2}"/>
              </a:ext>
            </a:extLst>
          </p:cNvPr>
          <p:cNvSpPr/>
          <p:nvPr/>
        </p:nvSpPr>
        <p:spPr>
          <a:xfrm>
            <a:off x="6429609" y="2812294"/>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2,1 %</a:t>
            </a:r>
          </a:p>
        </p:txBody>
      </p:sp>
      <p:sp>
        <p:nvSpPr>
          <p:cNvPr id="71" name="Obdélník 70">
            <a:extLst>
              <a:ext uri="{FF2B5EF4-FFF2-40B4-BE49-F238E27FC236}">
                <a16:creationId xmlns:a16="http://schemas.microsoft.com/office/drawing/2014/main" id="{31A4CDE4-810F-47E7-BE11-D1B664BE8A44}"/>
              </a:ext>
            </a:extLst>
          </p:cNvPr>
          <p:cNvSpPr/>
          <p:nvPr/>
        </p:nvSpPr>
        <p:spPr>
          <a:xfrm>
            <a:off x="5908317" y="2931880"/>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5,8 %</a:t>
            </a:r>
          </a:p>
        </p:txBody>
      </p:sp>
      <p:sp>
        <p:nvSpPr>
          <p:cNvPr id="64" name="Obdélník 63">
            <a:extLst>
              <a:ext uri="{FF2B5EF4-FFF2-40B4-BE49-F238E27FC236}">
                <a16:creationId xmlns:a16="http://schemas.microsoft.com/office/drawing/2014/main" id="{33873B3B-9943-4105-82E8-46D146F31487}"/>
              </a:ext>
            </a:extLst>
          </p:cNvPr>
          <p:cNvSpPr/>
          <p:nvPr/>
        </p:nvSpPr>
        <p:spPr>
          <a:xfrm>
            <a:off x="6690255" y="2695499"/>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7,7 %</a:t>
            </a:r>
          </a:p>
        </p:txBody>
      </p:sp>
      <p:sp>
        <p:nvSpPr>
          <p:cNvPr id="73" name="Obdélník 72">
            <a:extLst>
              <a:ext uri="{FF2B5EF4-FFF2-40B4-BE49-F238E27FC236}">
                <a16:creationId xmlns:a16="http://schemas.microsoft.com/office/drawing/2014/main" id="{54F44EDA-E48E-4868-9D1E-26C5085A1DA8}"/>
              </a:ext>
            </a:extLst>
          </p:cNvPr>
          <p:cNvSpPr/>
          <p:nvPr/>
        </p:nvSpPr>
        <p:spPr>
          <a:xfrm>
            <a:off x="6950901" y="235552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5 %</a:t>
            </a:r>
          </a:p>
        </p:txBody>
      </p:sp>
      <p:sp>
        <p:nvSpPr>
          <p:cNvPr id="62" name="Obdélník 61">
            <a:extLst>
              <a:ext uri="{FF2B5EF4-FFF2-40B4-BE49-F238E27FC236}">
                <a16:creationId xmlns:a16="http://schemas.microsoft.com/office/drawing/2014/main" id="{3EC376A9-4AC0-4D88-99BE-D04ED338DB1F}"/>
              </a:ext>
            </a:extLst>
          </p:cNvPr>
          <p:cNvSpPr/>
          <p:nvPr/>
        </p:nvSpPr>
        <p:spPr>
          <a:xfrm>
            <a:off x="7211547" y="207635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14,3 %</a:t>
            </a:r>
          </a:p>
        </p:txBody>
      </p:sp>
      <p:sp>
        <p:nvSpPr>
          <p:cNvPr id="72" name="Obdélník 71">
            <a:extLst>
              <a:ext uri="{FF2B5EF4-FFF2-40B4-BE49-F238E27FC236}">
                <a16:creationId xmlns:a16="http://schemas.microsoft.com/office/drawing/2014/main" id="{407AE30A-0CB5-4C70-8CBA-BD2E67DDD6DE}"/>
              </a:ext>
            </a:extLst>
          </p:cNvPr>
          <p:cNvSpPr/>
          <p:nvPr/>
        </p:nvSpPr>
        <p:spPr>
          <a:xfrm>
            <a:off x="5647671" y="2689147"/>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8,7 %</a:t>
            </a:r>
          </a:p>
        </p:txBody>
      </p:sp>
      <p:cxnSp>
        <p:nvCxnSpPr>
          <p:cNvPr id="74" name="Přímá spojnice se šipkou 73">
            <a:extLst>
              <a:ext uri="{FF2B5EF4-FFF2-40B4-BE49-F238E27FC236}">
                <a16:creationId xmlns:a16="http://schemas.microsoft.com/office/drawing/2014/main" id="{993EC90E-7FD8-407D-9D17-370132E75EC1}"/>
              </a:ext>
            </a:extLst>
          </p:cNvPr>
          <p:cNvCxnSpPr>
            <a:cxnSpLocks/>
          </p:cNvCxnSpPr>
          <p:nvPr/>
        </p:nvCxnSpPr>
        <p:spPr>
          <a:xfrm>
            <a:off x="4985475" y="1627975"/>
            <a:ext cx="0" cy="97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Přímá spojnice se šipkou 74">
            <a:extLst>
              <a:ext uri="{FF2B5EF4-FFF2-40B4-BE49-F238E27FC236}">
                <a16:creationId xmlns:a16="http://schemas.microsoft.com/office/drawing/2014/main" id="{66F27176-5C97-4512-B1F8-3124BDEB9E90}"/>
              </a:ext>
            </a:extLst>
          </p:cNvPr>
          <p:cNvCxnSpPr>
            <a:cxnSpLocks/>
          </p:cNvCxnSpPr>
          <p:nvPr/>
        </p:nvCxnSpPr>
        <p:spPr>
          <a:xfrm>
            <a:off x="7556617" y="1412546"/>
            <a:ext cx="0" cy="64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Obdélník 75">
            <a:extLst>
              <a:ext uri="{FF2B5EF4-FFF2-40B4-BE49-F238E27FC236}">
                <a16:creationId xmlns:a16="http://schemas.microsoft.com/office/drawing/2014/main" id="{4D29521C-37DA-4C9D-904F-817BE61D47CB}"/>
              </a:ext>
            </a:extLst>
          </p:cNvPr>
          <p:cNvSpPr/>
          <p:nvPr/>
        </p:nvSpPr>
        <p:spPr>
          <a:xfrm>
            <a:off x="7140783" y="1045286"/>
            <a:ext cx="1711564"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přerušení veškeré prezenční výuky</a:t>
            </a:r>
          </a:p>
        </p:txBody>
      </p:sp>
      <p:sp>
        <p:nvSpPr>
          <p:cNvPr id="46" name="Obdélník 45">
            <a:extLst>
              <a:ext uri="{FF2B5EF4-FFF2-40B4-BE49-F238E27FC236}">
                <a16:creationId xmlns:a16="http://schemas.microsoft.com/office/drawing/2014/main" id="{A8455353-19DD-4AC2-9325-5E85BAF5BB5B}"/>
              </a:ext>
            </a:extLst>
          </p:cNvPr>
          <p:cNvSpPr/>
          <p:nvPr/>
        </p:nvSpPr>
        <p:spPr>
          <a:xfrm>
            <a:off x="7732839" y="290331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9,7 %</a:t>
            </a:r>
          </a:p>
        </p:txBody>
      </p:sp>
      <p:sp>
        <p:nvSpPr>
          <p:cNvPr id="47" name="Obdélník 46">
            <a:extLst>
              <a:ext uri="{FF2B5EF4-FFF2-40B4-BE49-F238E27FC236}">
                <a16:creationId xmlns:a16="http://schemas.microsoft.com/office/drawing/2014/main" id="{9C8E768C-CEBA-42FB-8F30-26DE2EA56452}"/>
              </a:ext>
            </a:extLst>
          </p:cNvPr>
          <p:cNvSpPr/>
          <p:nvPr/>
        </p:nvSpPr>
        <p:spPr>
          <a:xfrm>
            <a:off x="7993485" y="323447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3,2 %</a:t>
            </a:r>
          </a:p>
        </p:txBody>
      </p:sp>
      <p:sp>
        <p:nvSpPr>
          <p:cNvPr id="49" name="Obdélník 48">
            <a:extLst>
              <a:ext uri="{FF2B5EF4-FFF2-40B4-BE49-F238E27FC236}">
                <a16:creationId xmlns:a16="http://schemas.microsoft.com/office/drawing/2014/main" id="{C90101AB-5A7A-4CE8-9507-4EA012F8FE8C}"/>
              </a:ext>
            </a:extLst>
          </p:cNvPr>
          <p:cNvSpPr/>
          <p:nvPr/>
        </p:nvSpPr>
        <p:spPr>
          <a:xfrm>
            <a:off x="8254131" y="355832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2 %</a:t>
            </a:r>
          </a:p>
        </p:txBody>
      </p:sp>
      <p:sp>
        <p:nvSpPr>
          <p:cNvPr id="51" name="Obdélník 50">
            <a:extLst>
              <a:ext uri="{FF2B5EF4-FFF2-40B4-BE49-F238E27FC236}">
                <a16:creationId xmlns:a16="http://schemas.microsoft.com/office/drawing/2014/main" id="{3F7D762C-F623-4E36-82F1-CE3D5541EFF5}"/>
              </a:ext>
            </a:extLst>
          </p:cNvPr>
          <p:cNvSpPr/>
          <p:nvPr/>
        </p:nvSpPr>
        <p:spPr>
          <a:xfrm>
            <a:off x="8514777" y="3778112"/>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sp>
        <p:nvSpPr>
          <p:cNvPr id="53" name="Obdélník 52">
            <a:extLst>
              <a:ext uri="{FF2B5EF4-FFF2-40B4-BE49-F238E27FC236}">
                <a16:creationId xmlns:a16="http://schemas.microsoft.com/office/drawing/2014/main" id="{3B5F721F-E312-4B9F-BD46-20AD44D95960}"/>
              </a:ext>
            </a:extLst>
          </p:cNvPr>
          <p:cNvSpPr/>
          <p:nvPr/>
        </p:nvSpPr>
        <p:spPr>
          <a:xfrm>
            <a:off x="8775423" y="386214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6,3 %</a:t>
            </a:r>
          </a:p>
        </p:txBody>
      </p:sp>
      <p:sp>
        <p:nvSpPr>
          <p:cNvPr id="55" name="Obdélník 54">
            <a:extLst>
              <a:ext uri="{FF2B5EF4-FFF2-40B4-BE49-F238E27FC236}">
                <a16:creationId xmlns:a16="http://schemas.microsoft.com/office/drawing/2014/main" id="{675372F7-9671-4E26-9F98-607A9DD37B65}"/>
              </a:ext>
            </a:extLst>
          </p:cNvPr>
          <p:cNvSpPr/>
          <p:nvPr/>
        </p:nvSpPr>
        <p:spPr>
          <a:xfrm>
            <a:off x="9036069" y="3988906"/>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cxnSp>
        <p:nvCxnSpPr>
          <p:cNvPr id="56" name="Přímá spojnice se šipkou 55">
            <a:extLst>
              <a:ext uri="{FF2B5EF4-FFF2-40B4-BE49-F238E27FC236}">
                <a16:creationId xmlns:a16="http://schemas.microsoft.com/office/drawing/2014/main" id="{6DC1B228-EFD7-4BA8-A838-0EB042907F91}"/>
              </a:ext>
            </a:extLst>
          </p:cNvPr>
          <p:cNvCxnSpPr>
            <a:cxnSpLocks/>
          </p:cNvCxnSpPr>
          <p:nvPr/>
        </p:nvCxnSpPr>
        <p:spPr>
          <a:xfrm>
            <a:off x="9140008" y="1732750"/>
            <a:ext cx="0" cy="212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Obdélník 58">
            <a:extLst>
              <a:ext uri="{FF2B5EF4-FFF2-40B4-BE49-F238E27FC236}">
                <a16:creationId xmlns:a16="http://schemas.microsoft.com/office/drawing/2014/main" id="{D734875B-FAE4-4A03-865E-03E8DD9CFD98}"/>
              </a:ext>
            </a:extLst>
          </p:cNvPr>
          <p:cNvSpPr/>
          <p:nvPr/>
        </p:nvSpPr>
        <p:spPr>
          <a:xfrm>
            <a:off x="9296715" y="405290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4,5 %</a:t>
            </a:r>
          </a:p>
        </p:txBody>
      </p:sp>
      <p:sp>
        <p:nvSpPr>
          <p:cNvPr id="63" name="Obdélník 62">
            <a:extLst>
              <a:ext uri="{FF2B5EF4-FFF2-40B4-BE49-F238E27FC236}">
                <a16:creationId xmlns:a16="http://schemas.microsoft.com/office/drawing/2014/main" id="{07D93610-C681-463C-B48E-3BE00577FB26}"/>
              </a:ext>
            </a:extLst>
          </p:cNvPr>
          <p:cNvSpPr/>
          <p:nvPr/>
        </p:nvSpPr>
        <p:spPr>
          <a:xfrm>
            <a:off x="9557361" y="411397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8,1 %</a:t>
            </a:r>
          </a:p>
        </p:txBody>
      </p:sp>
      <p:sp>
        <p:nvSpPr>
          <p:cNvPr id="68" name="Obdélník 67">
            <a:extLst>
              <a:ext uri="{FF2B5EF4-FFF2-40B4-BE49-F238E27FC236}">
                <a16:creationId xmlns:a16="http://schemas.microsoft.com/office/drawing/2014/main" id="{AB3FE291-2498-426E-8E8E-9D4CC630B185}"/>
              </a:ext>
            </a:extLst>
          </p:cNvPr>
          <p:cNvSpPr/>
          <p:nvPr/>
        </p:nvSpPr>
        <p:spPr>
          <a:xfrm>
            <a:off x="9818007" y="418091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0,5 %</a:t>
            </a:r>
          </a:p>
        </p:txBody>
      </p:sp>
      <p:sp>
        <p:nvSpPr>
          <p:cNvPr id="65" name="Obdélník 64">
            <a:extLst>
              <a:ext uri="{FF2B5EF4-FFF2-40B4-BE49-F238E27FC236}">
                <a16:creationId xmlns:a16="http://schemas.microsoft.com/office/drawing/2014/main" id="{49300486-23B1-4602-8F02-9592BE868249}"/>
              </a:ext>
            </a:extLst>
          </p:cNvPr>
          <p:cNvSpPr/>
          <p:nvPr/>
        </p:nvSpPr>
        <p:spPr>
          <a:xfrm>
            <a:off x="10078653" y="418803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5,5 %</a:t>
            </a:r>
          </a:p>
        </p:txBody>
      </p:sp>
      <p:sp>
        <p:nvSpPr>
          <p:cNvPr id="70" name="Obdélník 69">
            <a:extLst>
              <a:ext uri="{FF2B5EF4-FFF2-40B4-BE49-F238E27FC236}">
                <a16:creationId xmlns:a16="http://schemas.microsoft.com/office/drawing/2014/main" id="{13CA0285-9D4A-4427-B3C2-28F5462981BA}"/>
              </a:ext>
            </a:extLst>
          </p:cNvPr>
          <p:cNvSpPr/>
          <p:nvPr/>
        </p:nvSpPr>
        <p:spPr>
          <a:xfrm>
            <a:off x="10339299" y="422079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3,3 %</a:t>
            </a:r>
          </a:p>
        </p:txBody>
      </p:sp>
      <p:sp>
        <p:nvSpPr>
          <p:cNvPr id="77" name="Obdélník 76">
            <a:extLst>
              <a:ext uri="{FF2B5EF4-FFF2-40B4-BE49-F238E27FC236}">
                <a16:creationId xmlns:a16="http://schemas.microsoft.com/office/drawing/2014/main" id="{F4ECAE10-CC29-46B6-A173-6E2FC3852161}"/>
              </a:ext>
            </a:extLst>
          </p:cNvPr>
          <p:cNvSpPr/>
          <p:nvPr/>
        </p:nvSpPr>
        <p:spPr>
          <a:xfrm>
            <a:off x="8919798" y="1311962"/>
            <a:ext cx="1765142" cy="461665"/>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obnovení prezenční </a:t>
            </a:r>
            <a:r>
              <a:rPr lang="cs-CZ" sz="1000" b="1" i="1" dirty="0">
                <a:solidFill>
                  <a:srgbClr val="000000"/>
                </a:solidFill>
              </a:rPr>
              <a:t>výuky v nižších ročnících ZŠ, rotační režimy </a:t>
            </a:r>
            <a:endParaRPr lang="cs-CZ" sz="1000" b="1" i="1" dirty="0">
              <a:solidFill>
                <a:srgbClr val="000000"/>
              </a:solidFill>
              <a:latin typeface="Arial" panose="020B0604020202020204"/>
            </a:endParaRPr>
          </a:p>
        </p:txBody>
      </p:sp>
      <p:sp>
        <p:nvSpPr>
          <p:cNvPr id="57" name="Obdélník 56">
            <a:extLst>
              <a:ext uri="{FF2B5EF4-FFF2-40B4-BE49-F238E27FC236}">
                <a16:creationId xmlns:a16="http://schemas.microsoft.com/office/drawing/2014/main" id="{14A1CEC4-E4E7-4EC4-BB8B-A6E39DC718AF}"/>
              </a:ext>
            </a:extLst>
          </p:cNvPr>
          <p:cNvSpPr/>
          <p:nvPr/>
        </p:nvSpPr>
        <p:spPr>
          <a:xfrm>
            <a:off x="10599945" y="425889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8,6 %</a:t>
            </a:r>
          </a:p>
          <a:p>
            <a:pPr algn="ctr" fontAlgn="ctr"/>
            <a:endParaRPr lang="cs-CZ" sz="700" dirty="0">
              <a:solidFill>
                <a:srgbClr val="00B050"/>
              </a:solidFill>
              <a:latin typeface="Calibri" panose="020F0502020204030204" pitchFamily="34" charset="0"/>
            </a:endParaRPr>
          </a:p>
        </p:txBody>
      </p:sp>
      <p:sp>
        <p:nvSpPr>
          <p:cNvPr id="78" name="Obdélník 77">
            <a:extLst>
              <a:ext uri="{FF2B5EF4-FFF2-40B4-BE49-F238E27FC236}">
                <a16:creationId xmlns:a16="http://schemas.microsoft.com/office/drawing/2014/main" id="{9A6469B5-F5B8-4E2E-A6BF-5A57F54DE460}"/>
              </a:ext>
            </a:extLst>
          </p:cNvPr>
          <p:cNvSpPr/>
          <p:nvPr/>
        </p:nvSpPr>
        <p:spPr>
          <a:xfrm>
            <a:off x="10898690" y="426841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64,9 %</a:t>
            </a:r>
          </a:p>
        </p:txBody>
      </p:sp>
    </p:spTree>
    <p:extLst>
      <p:ext uri="{BB962C8B-B14F-4D97-AF65-F5344CB8AC3E}">
        <p14:creationId xmlns:p14="http://schemas.microsoft.com/office/powerpoint/2010/main" val="27921116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1" y="398147"/>
            <a:ext cx="11458927"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Retrospektivní analýza rizikov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kategorií profesí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rokázal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u pedagogů</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ysoké riziko nákazy COVID-19 v zaměstnání a zařadila je mezi nadprůměrně rizikové profese </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306559" y="3353384"/>
            <a:ext cx="11636248" cy="3108543"/>
          </a:xfrm>
          <a:prstGeom prst="rect">
            <a:avLst/>
          </a:prstGeom>
          <a:noFill/>
        </p:spPr>
        <p:txBody>
          <a:bodyPr wrap="square" rtlCol="0">
            <a:spAutoFit/>
          </a:bodyPr>
          <a:lstStyle/>
          <a:p>
            <a:pPr lvl="0" algn="ctr">
              <a:defRPr/>
            </a:pPr>
            <a:r>
              <a:rPr lang="cs-CZ" sz="2800" b="1" dirty="0">
                <a:solidFill>
                  <a:srgbClr val="C00000"/>
                </a:solidFill>
                <a:latin typeface="Calibri" panose="020F0502020204030204"/>
              </a:rPr>
              <a:t>Za celé období sledování byla nákaza COVID-19 prokázána u 50 357 pedagogů a pracovníků ve školství, z toho u 1 416 osob ve věku 65+. Nejvyšší počet nakažených byl diagnostikován v říjnu 2020 (10 736), a to v období před 14.10.; od ledna 2021 opět počty nakažených narostly a měsíčně dosahovaly 7 – 8 tisíc. Data od března dále ukazují významný pokles. </a:t>
            </a:r>
          </a:p>
          <a:p>
            <a:pPr lvl="0" algn="ctr">
              <a:defRPr/>
            </a:pPr>
            <a:endParaRPr lang="cs-CZ" sz="2800" b="1" dirty="0">
              <a:solidFill>
                <a:srgbClr val="C00000"/>
              </a:solidFill>
              <a:latin typeface="Calibri" panose="020F0502020204030204"/>
            </a:endParaRPr>
          </a:p>
          <a:p>
            <a:pPr lvl="0" algn="ctr">
              <a:defRPr/>
            </a:pPr>
            <a:r>
              <a:rPr lang="cs-CZ" sz="2800" b="1" dirty="0">
                <a:solidFill>
                  <a:srgbClr val="C00000"/>
                </a:solidFill>
                <a:latin typeface="Calibri" panose="020F0502020204030204"/>
              </a:rPr>
              <a:t>Celkem 1 026 pedagogů bylo s COVID-19 hospitalizováno a 50 zemřelo. </a:t>
            </a:r>
            <a:endParaRPr kumimoji="0" lang="cs-CZ" sz="22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5" name="Šipka dolů 4"/>
          <p:cNvSpPr/>
          <p:nvPr/>
        </p:nvSpPr>
        <p:spPr>
          <a:xfrm>
            <a:off x="5576996" y="2103383"/>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6484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4F77D8A4-7159-40DF-92E3-AF75D4A8E6D6}"/>
              </a:ext>
            </a:extLst>
          </p:cNvPr>
          <p:cNvGraphicFramePr>
            <a:graphicFrameLocks noGrp="1"/>
          </p:cNvGraphicFramePr>
          <p:nvPr>
            <p:extLst>
              <p:ext uri="{D42A27DB-BD31-4B8C-83A1-F6EECF244321}">
                <p14:modId xmlns:p14="http://schemas.microsoft.com/office/powerpoint/2010/main" val="2487490881"/>
              </p:ext>
            </p:extLst>
          </p:nvPr>
        </p:nvGraphicFramePr>
        <p:xfrm>
          <a:off x="1524000" y="1445318"/>
          <a:ext cx="9688929" cy="1374084"/>
        </p:xfrm>
        <a:graphic>
          <a:graphicData uri="http://schemas.openxmlformats.org/drawingml/2006/table">
            <a:tbl>
              <a:tblPr/>
              <a:tblGrid>
                <a:gridCol w="569937">
                  <a:extLst>
                    <a:ext uri="{9D8B030D-6E8A-4147-A177-3AD203B41FA5}">
                      <a16:colId xmlns:a16="http://schemas.microsoft.com/office/drawing/2014/main" val="4034695903"/>
                    </a:ext>
                  </a:extLst>
                </a:gridCol>
                <a:gridCol w="569937">
                  <a:extLst>
                    <a:ext uri="{9D8B030D-6E8A-4147-A177-3AD203B41FA5}">
                      <a16:colId xmlns:a16="http://schemas.microsoft.com/office/drawing/2014/main" val="436246442"/>
                    </a:ext>
                  </a:extLst>
                </a:gridCol>
                <a:gridCol w="569937">
                  <a:extLst>
                    <a:ext uri="{9D8B030D-6E8A-4147-A177-3AD203B41FA5}">
                      <a16:colId xmlns:a16="http://schemas.microsoft.com/office/drawing/2014/main" val="2774988146"/>
                    </a:ext>
                  </a:extLst>
                </a:gridCol>
                <a:gridCol w="569937">
                  <a:extLst>
                    <a:ext uri="{9D8B030D-6E8A-4147-A177-3AD203B41FA5}">
                      <a16:colId xmlns:a16="http://schemas.microsoft.com/office/drawing/2014/main" val="3055883431"/>
                    </a:ext>
                  </a:extLst>
                </a:gridCol>
                <a:gridCol w="569937">
                  <a:extLst>
                    <a:ext uri="{9D8B030D-6E8A-4147-A177-3AD203B41FA5}">
                      <a16:colId xmlns:a16="http://schemas.microsoft.com/office/drawing/2014/main" val="36415409"/>
                    </a:ext>
                  </a:extLst>
                </a:gridCol>
                <a:gridCol w="569937">
                  <a:extLst>
                    <a:ext uri="{9D8B030D-6E8A-4147-A177-3AD203B41FA5}">
                      <a16:colId xmlns:a16="http://schemas.microsoft.com/office/drawing/2014/main" val="1894520377"/>
                    </a:ext>
                  </a:extLst>
                </a:gridCol>
                <a:gridCol w="569937">
                  <a:extLst>
                    <a:ext uri="{9D8B030D-6E8A-4147-A177-3AD203B41FA5}">
                      <a16:colId xmlns:a16="http://schemas.microsoft.com/office/drawing/2014/main" val="1541937770"/>
                    </a:ext>
                  </a:extLst>
                </a:gridCol>
                <a:gridCol w="569937">
                  <a:extLst>
                    <a:ext uri="{9D8B030D-6E8A-4147-A177-3AD203B41FA5}">
                      <a16:colId xmlns:a16="http://schemas.microsoft.com/office/drawing/2014/main" val="3497108727"/>
                    </a:ext>
                  </a:extLst>
                </a:gridCol>
                <a:gridCol w="569937">
                  <a:extLst>
                    <a:ext uri="{9D8B030D-6E8A-4147-A177-3AD203B41FA5}">
                      <a16:colId xmlns:a16="http://schemas.microsoft.com/office/drawing/2014/main" val="2501750001"/>
                    </a:ext>
                  </a:extLst>
                </a:gridCol>
                <a:gridCol w="569937">
                  <a:extLst>
                    <a:ext uri="{9D8B030D-6E8A-4147-A177-3AD203B41FA5}">
                      <a16:colId xmlns:a16="http://schemas.microsoft.com/office/drawing/2014/main" val="1678532564"/>
                    </a:ext>
                  </a:extLst>
                </a:gridCol>
                <a:gridCol w="569937">
                  <a:extLst>
                    <a:ext uri="{9D8B030D-6E8A-4147-A177-3AD203B41FA5}">
                      <a16:colId xmlns:a16="http://schemas.microsoft.com/office/drawing/2014/main" val="1274317679"/>
                    </a:ext>
                  </a:extLst>
                </a:gridCol>
                <a:gridCol w="569937">
                  <a:extLst>
                    <a:ext uri="{9D8B030D-6E8A-4147-A177-3AD203B41FA5}">
                      <a16:colId xmlns:a16="http://schemas.microsoft.com/office/drawing/2014/main" val="2715704773"/>
                    </a:ext>
                  </a:extLst>
                </a:gridCol>
                <a:gridCol w="569937">
                  <a:extLst>
                    <a:ext uri="{9D8B030D-6E8A-4147-A177-3AD203B41FA5}">
                      <a16:colId xmlns:a16="http://schemas.microsoft.com/office/drawing/2014/main" val="2288605858"/>
                    </a:ext>
                  </a:extLst>
                </a:gridCol>
                <a:gridCol w="569937">
                  <a:extLst>
                    <a:ext uri="{9D8B030D-6E8A-4147-A177-3AD203B41FA5}">
                      <a16:colId xmlns:a16="http://schemas.microsoft.com/office/drawing/2014/main" val="2377607010"/>
                    </a:ext>
                  </a:extLst>
                </a:gridCol>
                <a:gridCol w="569937">
                  <a:extLst>
                    <a:ext uri="{9D8B030D-6E8A-4147-A177-3AD203B41FA5}">
                      <a16:colId xmlns:a16="http://schemas.microsoft.com/office/drawing/2014/main" val="374334115"/>
                    </a:ext>
                  </a:extLst>
                </a:gridCol>
                <a:gridCol w="569937">
                  <a:extLst>
                    <a:ext uri="{9D8B030D-6E8A-4147-A177-3AD203B41FA5}">
                      <a16:colId xmlns:a16="http://schemas.microsoft.com/office/drawing/2014/main" val="513368319"/>
                    </a:ext>
                  </a:extLst>
                </a:gridCol>
                <a:gridCol w="569937">
                  <a:extLst>
                    <a:ext uri="{9D8B030D-6E8A-4147-A177-3AD203B41FA5}">
                      <a16:colId xmlns:a16="http://schemas.microsoft.com/office/drawing/2014/main" val="2225056713"/>
                    </a:ext>
                  </a:extLst>
                </a:gridCol>
              </a:tblGrid>
              <a:tr h="34352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8E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CE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D0D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3F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8E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D1D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0E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4E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3E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8E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2E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DDE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2E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6E8"/>
                    </a:solidFill>
                  </a:tcPr>
                </a:tc>
                <a:extLst>
                  <a:ext uri="{0D108BD9-81ED-4DB2-BD59-A6C34878D82A}">
                    <a16:rowId xmlns:a16="http://schemas.microsoft.com/office/drawing/2014/main" val="3404037875"/>
                  </a:ext>
                </a:extLst>
              </a:tr>
              <a:tr h="34352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AA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68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0A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E8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6E7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A8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18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58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E9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B8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88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C8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F81"/>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C7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88A"/>
                    </a:solidFill>
                  </a:tcPr>
                </a:tc>
                <a:extLst>
                  <a:ext uri="{0D108BD9-81ED-4DB2-BD59-A6C34878D82A}">
                    <a16:rowId xmlns:a16="http://schemas.microsoft.com/office/drawing/2014/main" val="1260536537"/>
                  </a:ext>
                </a:extLst>
              </a:tr>
              <a:tr h="34352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98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0A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0A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EA1"/>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DB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8B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4B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BA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3A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9A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4A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8A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5A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4B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CB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D3D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8AB"/>
                    </a:solidFill>
                  </a:tcPr>
                </a:tc>
                <a:extLst>
                  <a:ext uri="{0D108BD9-81ED-4DB2-BD59-A6C34878D82A}">
                    <a16:rowId xmlns:a16="http://schemas.microsoft.com/office/drawing/2014/main" val="2633179438"/>
                  </a:ext>
                </a:extLst>
              </a:tr>
              <a:tr h="34352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4F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BF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8F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7F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5F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1F4"/>
                    </a:solidFill>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9FC"/>
                    </a:solidFill>
                  </a:tcPr>
                </a:tc>
                <a:extLst>
                  <a:ext uri="{0D108BD9-81ED-4DB2-BD59-A6C34878D82A}">
                    <a16:rowId xmlns:a16="http://schemas.microsoft.com/office/drawing/2014/main" val="3597828115"/>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u pedagogů a dalších pracovníků ve školství</a:t>
            </a:r>
            <a:endParaRPr lang="cs-CZ" sz="2000" dirty="0"/>
          </a:p>
        </p:txBody>
      </p:sp>
      <p:graphicFrame>
        <p:nvGraphicFramePr>
          <p:cNvPr id="9" name="Graf 8">
            <a:extLst>
              <a:ext uri="{FF2B5EF4-FFF2-40B4-BE49-F238E27FC236}">
                <a16:creationId xmlns:a16="http://schemas.microsoft.com/office/drawing/2014/main" id="{E02C52D3-AAE0-42C8-BCE7-D9F81DA12711}"/>
              </a:ext>
            </a:extLst>
          </p:cNvPr>
          <p:cNvGraphicFramePr/>
          <p:nvPr>
            <p:extLst>
              <p:ext uri="{D42A27DB-BD31-4B8C-83A1-F6EECF244321}">
                <p14:modId xmlns:p14="http://schemas.microsoft.com/office/powerpoint/2010/main" val="3356112663"/>
              </p:ext>
            </p:extLst>
          </p:nvPr>
        </p:nvGraphicFramePr>
        <p:xfrm>
          <a:off x="332819" y="3433434"/>
          <a:ext cx="8696881" cy="32340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ulka 6">
            <a:extLst>
              <a:ext uri="{FF2B5EF4-FFF2-40B4-BE49-F238E27FC236}">
                <a16:creationId xmlns:a16="http://schemas.microsoft.com/office/drawing/2014/main" id="{3295F615-5521-42CB-B0A4-26D74ECCCD4E}"/>
              </a:ext>
            </a:extLst>
          </p:cNvPr>
          <p:cNvGraphicFramePr>
            <a:graphicFrameLocks noGrp="1"/>
          </p:cNvGraphicFramePr>
          <p:nvPr>
            <p:extLst>
              <p:ext uri="{D42A27DB-BD31-4B8C-83A1-F6EECF244321}">
                <p14:modId xmlns:p14="http://schemas.microsoft.com/office/powerpoint/2010/main" val="1812126456"/>
              </p:ext>
            </p:extLst>
          </p:nvPr>
        </p:nvGraphicFramePr>
        <p:xfrm>
          <a:off x="9210675" y="3988432"/>
          <a:ext cx="2809875" cy="1590377"/>
        </p:xfrm>
        <a:graphic>
          <a:graphicData uri="http://schemas.openxmlformats.org/drawingml/2006/table">
            <a:tbl>
              <a:tblPr/>
              <a:tblGrid>
                <a:gridCol w="678795">
                  <a:extLst>
                    <a:ext uri="{9D8B030D-6E8A-4147-A177-3AD203B41FA5}">
                      <a16:colId xmlns:a16="http://schemas.microsoft.com/office/drawing/2014/main" val="2946039579"/>
                    </a:ext>
                  </a:extLst>
                </a:gridCol>
                <a:gridCol w="678795">
                  <a:extLst>
                    <a:ext uri="{9D8B030D-6E8A-4147-A177-3AD203B41FA5}">
                      <a16:colId xmlns:a16="http://schemas.microsoft.com/office/drawing/2014/main" val="3614760637"/>
                    </a:ext>
                  </a:extLst>
                </a:gridCol>
                <a:gridCol w="678795">
                  <a:extLst>
                    <a:ext uri="{9D8B030D-6E8A-4147-A177-3AD203B41FA5}">
                      <a16:colId xmlns:a16="http://schemas.microsoft.com/office/drawing/2014/main" val="3855762985"/>
                    </a:ext>
                  </a:extLst>
                </a:gridCol>
                <a:gridCol w="773490">
                  <a:extLst>
                    <a:ext uri="{9D8B030D-6E8A-4147-A177-3AD203B41FA5}">
                      <a16:colId xmlns:a16="http://schemas.microsoft.com/office/drawing/2014/main" val="1202274410"/>
                    </a:ext>
                  </a:extLst>
                </a:gridCol>
              </a:tblGrid>
              <a:tr h="626609">
                <a:tc>
                  <a:txBody>
                    <a:bodyPr/>
                    <a:lstStyle/>
                    <a:p>
                      <a:pPr algn="ctr" fontAlgn="ctr"/>
                      <a:endParaRPr lang="cs-CZ" sz="14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34487"/>
                  </a:ext>
                </a:extLst>
              </a:tr>
              <a:tr h="321256">
                <a:tc>
                  <a:txBody>
                    <a:bodyPr/>
                    <a:lstStyle/>
                    <a:p>
                      <a:pPr algn="l" fontAlgn="ctr"/>
                      <a:r>
                        <a:rPr lang="cs-CZ" sz="1400" b="1" i="0" u="none" strike="noStrike">
                          <a:solidFill>
                            <a:srgbClr val="000000"/>
                          </a:solidFill>
                          <a:effectLst/>
                          <a:latin typeface="Calibri" panose="020F0502020204030204" pitchFamily="34" charset="0"/>
                        </a:rPr>
                        <a:t>Muži</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8 22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16,3 %</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1" u="none" strike="noStrike">
                          <a:solidFill>
                            <a:srgbClr val="000000"/>
                          </a:solidFill>
                          <a:effectLst/>
                          <a:latin typeface="Calibri" panose="020F0502020204030204" pitchFamily="34" charset="0"/>
                        </a:rPr>
                        <a:t>46,9 let</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2429440636"/>
                  </a:ext>
                </a:extLst>
              </a:tr>
              <a:tr h="321256">
                <a:tc>
                  <a:txBody>
                    <a:bodyPr/>
                    <a:lstStyle/>
                    <a:p>
                      <a:pPr algn="l" fontAlgn="ctr"/>
                      <a:r>
                        <a:rPr lang="cs-CZ" sz="1400" b="1" i="0" u="none" strike="noStrike" dirty="0">
                          <a:solidFill>
                            <a:srgbClr val="000000"/>
                          </a:solidFill>
                          <a:effectLst/>
                          <a:latin typeface="Calibri" panose="020F0502020204030204" pitchFamily="34" charset="0"/>
                        </a:rPr>
                        <a:t>Ženy</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42 171</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83,7 %</a:t>
                      </a:r>
                    </a:p>
                  </a:txBody>
                  <a:tcPr marL="9525" marR="9525" marT="9525" marB="0" anchor="ctr">
                    <a:lnL>
                      <a:noFill/>
                    </a:lnL>
                    <a:lnR>
                      <a:noFill/>
                    </a:lnR>
                    <a:lnT>
                      <a:noFill/>
                    </a:lnT>
                    <a:lnB>
                      <a:noFill/>
                    </a:lnB>
                  </a:tcPr>
                </a:tc>
                <a:tc>
                  <a:txBody>
                    <a:bodyPr/>
                    <a:lstStyle/>
                    <a:p>
                      <a:pPr algn="ctr" fontAlgn="ctr"/>
                      <a:r>
                        <a:rPr lang="cs-CZ" sz="1400" b="1" i="1" u="none" strike="noStrike">
                          <a:solidFill>
                            <a:srgbClr val="000000"/>
                          </a:solidFill>
                          <a:effectLst/>
                          <a:latin typeface="Calibri" panose="020F0502020204030204" pitchFamily="34" charset="0"/>
                        </a:rPr>
                        <a:t>45,4 let</a:t>
                      </a:r>
                    </a:p>
                  </a:txBody>
                  <a:tcPr marL="9525" marR="9525" marT="9525" marB="0" anchor="ctr">
                    <a:lnL>
                      <a:noFill/>
                    </a:lnL>
                    <a:lnR>
                      <a:noFill/>
                    </a:lnR>
                    <a:lnT>
                      <a:noFill/>
                    </a:lnT>
                    <a:lnB>
                      <a:noFill/>
                    </a:lnB>
                  </a:tcPr>
                </a:tc>
                <a:extLst>
                  <a:ext uri="{0D108BD9-81ED-4DB2-BD59-A6C34878D82A}">
                    <a16:rowId xmlns:a16="http://schemas.microsoft.com/office/drawing/2014/main" val="792142187"/>
                  </a:ext>
                </a:extLst>
              </a:tr>
              <a:tr h="321256">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0 395</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00,0 %</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45,6 le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6102435"/>
                  </a:ext>
                </a:extLst>
              </a:tr>
            </a:tbl>
          </a:graphicData>
        </a:graphic>
      </p:graphicFrame>
      <p:sp>
        <p:nvSpPr>
          <p:cNvPr id="13" name="Obdélník 12">
            <a:extLst>
              <a:ext uri="{FF2B5EF4-FFF2-40B4-BE49-F238E27FC236}">
                <a16:creationId xmlns:a16="http://schemas.microsoft.com/office/drawing/2014/main" id="{CE1117FA-97E3-4E59-A158-B0ECC91C6D39}"/>
              </a:ext>
            </a:extLst>
          </p:cNvPr>
          <p:cNvSpPr/>
          <p:nvPr/>
        </p:nvSpPr>
        <p:spPr>
          <a:xfrm>
            <a:off x="180538" y="600142"/>
            <a:ext cx="5705912"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ty nově COVID-19 pozitivních v čase podle věku</a:t>
            </a:r>
          </a:p>
        </p:txBody>
      </p:sp>
      <p:sp>
        <p:nvSpPr>
          <p:cNvPr id="15" name="Obdélník 14">
            <a:extLst>
              <a:ext uri="{FF2B5EF4-FFF2-40B4-BE49-F238E27FC236}">
                <a16:creationId xmlns:a16="http://schemas.microsoft.com/office/drawing/2014/main" id="{292F1E1B-D725-4210-9E95-484AC6073A63}"/>
              </a:ext>
            </a:extLst>
          </p:cNvPr>
          <p:cNvSpPr/>
          <p:nvPr/>
        </p:nvSpPr>
        <p:spPr>
          <a:xfrm>
            <a:off x="704415" y="3142496"/>
            <a:ext cx="1094466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hlaví a věk (celkem za 03/2020 – 06/2021 k 4. 6.)</a:t>
            </a:r>
          </a:p>
        </p:txBody>
      </p:sp>
      <p:sp>
        <p:nvSpPr>
          <p:cNvPr id="8" name="Obdélník 7">
            <a:extLst>
              <a:ext uri="{FF2B5EF4-FFF2-40B4-BE49-F238E27FC236}">
                <a16:creationId xmlns:a16="http://schemas.microsoft.com/office/drawing/2014/main" id="{B606052F-7CC6-4D2A-9063-A8EB277DBE9E}"/>
              </a:ext>
            </a:extLst>
          </p:cNvPr>
          <p:cNvSpPr/>
          <p:nvPr/>
        </p:nvSpPr>
        <p:spPr>
          <a:xfrm>
            <a:off x="9010650" y="4714875"/>
            <a:ext cx="144000" cy="144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bdélník 15">
            <a:extLst>
              <a:ext uri="{FF2B5EF4-FFF2-40B4-BE49-F238E27FC236}">
                <a16:creationId xmlns:a16="http://schemas.microsoft.com/office/drawing/2014/main" id="{3CA4AA70-498B-47C6-A03A-1BEE16D2CB4A}"/>
              </a:ext>
            </a:extLst>
          </p:cNvPr>
          <p:cNvSpPr/>
          <p:nvPr/>
        </p:nvSpPr>
        <p:spPr>
          <a:xfrm>
            <a:off x="9010650" y="5019675"/>
            <a:ext cx="144000" cy="144000"/>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ovéPole 11">
            <a:extLst>
              <a:ext uri="{FF2B5EF4-FFF2-40B4-BE49-F238E27FC236}">
                <a16:creationId xmlns:a16="http://schemas.microsoft.com/office/drawing/2014/main" id="{B70112A9-E00F-44FD-8B13-C0F3BC274367}"/>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Tabulka 16">
            <a:extLst>
              <a:ext uri="{FF2B5EF4-FFF2-40B4-BE49-F238E27FC236}">
                <a16:creationId xmlns:a16="http://schemas.microsoft.com/office/drawing/2014/main" id="{FEFA9CBE-2A23-4594-8B25-3B9D0FB2E676}"/>
              </a:ext>
            </a:extLst>
          </p:cNvPr>
          <p:cNvGraphicFramePr>
            <a:graphicFrameLocks noGrp="1"/>
          </p:cNvGraphicFramePr>
          <p:nvPr>
            <p:extLst>
              <p:ext uri="{D42A27DB-BD31-4B8C-83A1-F6EECF244321}">
                <p14:modId xmlns:p14="http://schemas.microsoft.com/office/powerpoint/2010/main" val="2463393405"/>
              </p:ext>
            </p:extLst>
          </p:nvPr>
        </p:nvGraphicFramePr>
        <p:xfrm>
          <a:off x="704415" y="1064674"/>
          <a:ext cx="10508513" cy="1938415"/>
        </p:xfrm>
        <a:graphic>
          <a:graphicData uri="http://schemas.openxmlformats.org/drawingml/2006/table">
            <a:tbl>
              <a:tblPr/>
              <a:tblGrid>
                <a:gridCol w="828645">
                  <a:extLst>
                    <a:ext uri="{9D8B030D-6E8A-4147-A177-3AD203B41FA5}">
                      <a16:colId xmlns:a16="http://schemas.microsoft.com/office/drawing/2014/main" val="2590966169"/>
                    </a:ext>
                  </a:extLst>
                </a:gridCol>
                <a:gridCol w="569404">
                  <a:extLst>
                    <a:ext uri="{9D8B030D-6E8A-4147-A177-3AD203B41FA5}">
                      <a16:colId xmlns:a16="http://schemas.microsoft.com/office/drawing/2014/main" val="1196958163"/>
                    </a:ext>
                  </a:extLst>
                </a:gridCol>
                <a:gridCol w="569404">
                  <a:extLst>
                    <a:ext uri="{9D8B030D-6E8A-4147-A177-3AD203B41FA5}">
                      <a16:colId xmlns:a16="http://schemas.microsoft.com/office/drawing/2014/main" val="1590475166"/>
                    </a:ext>
                  </a:extLst>
                </a:gridCol>
                <a:gridCol w="569404">
                  <a:extLst>
                    <a:ext uri="{9D8B030D-6E8A-4147-A177-3AD203B41FA5}">
                      <a16:colId xmlns:a16="http://schemas.microsoft.com/office/drawing/2014/main" val="121150438"/>
                    </a:ext>
                  </a:extLst>
                </a:gridCol>
                <a:gridCol w="569404">
                  <a:extLst>
                    <a:ext uri="{9D8B030D-6E8A-4147-A177-3AD203B41FA5}">
                      <a16:colId xmlns:a16="http://schemas.microsoft.com/office/drawing/2014/main" val="3550961818"/>
                    </a:ext>
                  </a:extLst>
                </a:gridCol>
                <a:gridCol w="569404">
                  <a:extLst>
                    <a:ext uri="{9D8B030D-6E8A-4147-A177-3AD203B41FA5}">
                      <a16:colId xmlns:a16="http://schemas.microsoft.com/office/drawing/2014/main" val="3206239474"/>
                    </a:ext>
                  </a:extLst>
                </a:gridCol>
                <a:gridCol w="569404">
                  <a:extLst>
                    <a:ext uri="{9D8B030D-6E8A-4147-A177-3AD203B41FA5}">
                      <a16:colId xmlns:a16="http://schemas.microsoft.com/office/drawing/2014/main" val="2263018595"/>
                    </a:ext>
                  </a:extLst>
                </a:gridCol>
                <a:gridCol w="569404">
                  <a:extLst>
                    <a:ext uri="{9D8B030D-6E8A-4147-A177-3AD203B41FA5}">
                      <a16:colId xmlns:a16="http://schemas.microsoft.com/office/drawing/2014/main" val="626650623"/>
                    </a:ext>
                  </a:extLst>
                </a:gridCol>
                <a:gridCol w="569404">
                  <a:extLst>
                    <a:ext uri="{9D8B030D-6E8A-4147-A177-3AD203B41FA5}">
                      <a16:colId xmlns:a16="http://schemas.microsoft.com/office/drawing/2014/main" val="2267394689"/>
                    </a:ext>
                  </a:extLst>
                </a:gridCol>
                <a:gridCol w="569404">
                  <a:extLst>
                    <a:ext uri="{9D8B030D-6E8A-4147-A177-3AD203B41FA5}">
                      <a16:colId xmlns:a16="http://schemas.microsoft.com/office/drawing/2014/main" val="2197024938"/>
                    </a:ext>
                  </a:extLst>
                </a:gridCol>
                <a:gridCol w="569404">
                  <a:extLst>
                    <a:ext uri="{9D8B030D-6E8A-4147-A177-3AD203B41FA5}">
                      <a16:colId xmlns:a16="http://schemas.microsoft.com/office/drawing/2014/main" val="3534612074"/>
                    </a:ext>
                  </a:extLst>
                </a:gridCol>
                <a:gridCol w="569404">
                  <a:extLst>
                    <a:ext uri="{9D8B030D-6E8A-4147-A177-3AD203B41FA5}">
                      <a16:colId xmlns:a16="http://schemas.microsoft.com/office/drawing/2014/main" val="23818153"/>
                    </a:ext>
                  </a:extLst>
                </a:gridCol>
                <a:gridCol w="569404">
                  <a:extLst>
                    <a:ext uri="{9D8B030D-6E8A-4147-A177-3AD203B41FA5}">
                      <a16:colId xmlns:a16="http://schemas.microsoft.com/office/drawing/2014/main" val="1420328425"/>
                    </a:ext>
                  </a:extLst>
                </a:gridCol>
                <a:gridCol w="569404">
                  <a:extLst>
                    <a:ext uri="{9D8B030D-6E8A-4147-A177-3AD203B41FA5}">
                      <a16:colId xmlns:a16="http://schemas.microsoft.com/office/drawing/2014/main" val="4178866676"/>
                    </a:ext>
                  </a:extLst>
                </a:gridCol>
                <a:gridCol w="569404">
                  <a:extLst>
                    <a:ext uri="{9D8B030D-6E8A-4147-A177-3AD203B41FA5}">
                      <a16:colId xmlns:a16="http://schemas.microsoft.com/office/drawing/2014/main" val="1418633951"/>
                    </a:ext>
                  </a:extLst>
                </a:gridCol>
                <a:gridCol w="569404">
                  <a:extLst>
                    <a:ext uri="{9D8B030D-6E8A-4147-A177-3AD203B41FA5}">
                      <a16:colId xmlns:a16="http://schemas.microsoft.com/office/drawing/2014/main" val="2867292787"/>
                    </a:ext>
                  </a:extLst>
                </a:gridCol>
                <a:gridCol w="569404">
                  <a:extLst>
                    <a:ext uri="{9D8B030D-6E8A-4147-A177-3AD203B41FA5}">
                      <a16:colId xmlns:a16="http://schemas.microsoft.com/office/drawing/2014/main" val="2883612833"/>
                    </a:ext>
                  </a:extLst>
                </a:gridCol>
                <a:gridCol w="569404">
                  <a:extLst>
                    <a:ext uri="{9D8B030D-6E8A-4147-A177-3AD203B41FA5}">
                      <a16:colId xmlns:a16="http://schemas.microsoft.com/office/drawing/2014/main" val="3601930031"/>
                    </a:ext>
                  </a:extLst>
                </a:gridCol>
              </a:tblGrid>
              <a:tr h="376315">
                <a:tc>
                  <a:txBody>
                    <a:bodyPr/>
                    <a:lstStyle/>
                    <a:p>
                      <a:pPr algn="ctr" fontAlgn="ctr"/>
                      <a:r>
                        <a:rPr lang="cs-CZ" sz="12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3/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4/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5/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6/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7/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8/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9/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1/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2/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1/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2/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3/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4/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5/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6/ 2021</a:t>
                      </a:r>
                    </a:p>
                    <a:p>
                      <a:pPr algn="ctr" fontAlgn="ctr"/>
                      <a:r>
                        <a:rPr lang="cs-CZ" sz="1100" b="1" i="0" u="none" strike="noStrike" dirty="0">
                          <a:solidFill>
                            <a:srgbClr val="000000"/>
                          </a:solidFill>
                          <a:effectLst/>
                          <a:latin typeface="Calibri" panose="020F0502020204030204" pitchFamily="34" charset="0"/>
                        </a:rPr>
                        <a:t>k 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CELK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93046">
                <a:tc>
                  <a:txBody>
                    <a:bodyPr/>
                    <a:lstStyle/>
                    <a:p>
                      <a:pPr algn="l" fontAlgn="ctr"/>
                      <a:r>
                        <a:rPr lang="cs-CZ" sz="1200" b="1" i="0" u="none" strike="noStrike" dirty="0">
                          <a:solidFill>
                            <a:srgbClr val="000000"/>
                          </a:solidFill>
                          <a:effectLst/>
                          <a:latin typeface="Calibri" panose="020F0502020204030204" pitchFamily="34" charset="0"/>
                        </a:rPr>
                        <a:t>do 2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0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483</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93046">
                <a:tc>
                  <a:txBody>
                    <a:bodyPr/>
                    <a:lstStyle/>
                    <a:p>
                      <a:pPr algn="l" fontAlgn="ctr"/>
                      <a:r>
                        <a:rPr lang="cs-CZ" sz="1200" b="1" i="0" u="none" strike="noStrike">
                          <a:solidFill>
                            <a:srgbClr val="000000"/>
                          </a:solidFill>
                          <a:effectLst/>
                          <a:latin typeface="Calibri" panose="020F0502020204030204" pitchFamily="34" charset="0"/>
                        </a:rPr>
                        <a:t>30-4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3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4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9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9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04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0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8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515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93046">
                <a:tc>
                  <a:txBody>
                    <a:bodyPr/>
                    <a:lstStyle/>
                    <a:p>
                      <a:pPr algn="l" fontAlgn="ctr"/>
                      <a:r>
                        <a:rPr lang="cs-CZ" sz="1200" b="1" i="0" u="none" strike="noStrike">
                          <a:solidFill>
                            <a:srgbClr val="000000"/>
                          </a:solidFill>
                          <a:effectLst/>
                          <a:latin typeface="Calibri" panose="020F0502020204030204" pitchFamily="34" charset="0"/>
                        </a:rPr>
                        <a:t>50-64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5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0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33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6,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93046">
                <a:tc>
                  <a:txBody>
                    <a:bodyPr/>
                    <a:lstStyle/>
                    <a:p>
                      <a:pPr algn="l" fontAlgn="ctr"/>
                      <a:r>
                        <a:rPr lang="cs-CZ" sz="1200" b="1" i="0" u="none" strike="noStrike">
                          <a:solidFill>
                            <a:srgbClr val="000000"/>
                          </a:solidFill>
                          <a:effectLst/>
                          <a:latin typeface="Calibri" panose="020F0502020204030204" pitchFamily="34" charset="0"/>
                        </a:rPr>
                        <a:t>65+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420</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6269390"/>
                  </a:ext>
                </a:extLst>
              </a:tr>
              <a:tr h="147918">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 3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7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 9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 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 2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 4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3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50 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86755919"/>
                  </a:ext>
                </a:extLst>
              </a:tr>
            </a:tbl>
          </a:graphicData>
        </a:graphic>
      </p:graphicFrame>
    </p:spTree>
    <p:extLst>
      <p:ext uri="{BB962C8B-B14F-4D97-AF65-F5344CB8AC3E}">
        <p14:creationId xmlns:p14="http://schemas.microsoft.com/office/powerpoint/2010/main" val="26123145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sp>
        <p:nvSpPr>
          <p:cNvPr id="5" name="Obdélník 4">
            <a:extLst>
              <a:ext uri="{FF2B5EF4-FFF2-40B4-BE49-F238E27FC236}">
                <a16:creationId xmlns:a16="http://schemas.microsoft.com/office/drawing/2014/main" id="{DCAC58A8-53EA-4F94-877D-8537B4CF9B8F}"/>
              </a:ext>
            </a:extLst>
          </p:cNvPr>
          <p:cNvSpPr/>
          <p:nvPr/>
        </p:nvSpPr>
        <p:spPr>
          <a:xfrm>
            <a:off x="1623152" y="794240"/>
            <a:ext cx="7886700" cy="830997"/>
          </a:xfrm>
          <a:prstGeom prst="rect">
            <a:avLst/>
          </a:prstGeom>
        </p:spPr>
        <p:txBody>
          <a:bodyPr wrap="square">
            <a:spAutoFit/>
          </a:bodyPr>
          <a:lstStyle/>
          <a:p>
            <a:pPr marL="0" marR="0" lvl="0" indent="0"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ážných stavů a úmrtí pedagogů s COVID-19</a:t>
            </a:r>
          </a:p>
          <a:p>
            <a:pPr marL="0" marR="0" lvl="0" indent="0" defTabSz="914400" rtl="0" eaLnBrk="1" fontAlgn="b" latinLnBrk="0" hangingPunct="1">
              <a:lnSpc>
                <a:spcPct val="100000"/>
              </a:lnSpc>
              <a:spcBef>
                <a:spcPts val="0"/>
              </a:spcBef>
              <a:spcAft>
                <a:spcPts val="0"/>
              </a:spcAft>
              <a:buClrTx/>
              <a:buSzTx/>
              <a:buFontTx/>
              <a:buNone/>
              <a:tabLst/>
              <a:defRPr/>
            </a:pPr>
            <a:endPar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6" name="Tabulka 5">
            <a:extLst>
              <a:ext uri="{FF2B5EF4-FFF2-40B4-BE49-F238E27FC236}">
                <a16:creationId xmlns:a16="http://schemas.microsoft.com/office/drawing/2014/main" id="{F2AF85EC-4296-42B0-94CA-6804D5953FA6}"/>
              </a:ext>
            </a:extLst>
          </p:cNvPr>
          <p:cNvGraphicFramePr>
            <a:graphicFrameLocks noGrp="1"/>
          </p:cNvGraphicFramePr>
          <p:nvPr>
            <p:extLst>
              <p:ext uri="{D42A27DB-BD31-4B8C-83A1-F6EECF244321}">
                <p14:modId xmlns:p14="http://schemas.microsoft.com/office/powerpoint/2010/main" val="1417656069"/>
              </p:ext>
            </p:extLst>
          </p:nvPr>
        </p:nvGraphicFramePr>
        <p:xfrm>
          <a:off x="1623152" y="1300210"/>
          <a:ext cx="7886700" cy="5033915"/>
        </p:xfrm>
        <a:graphic>
          <a:graphicData uri="http://schemas.openxmlformats.org/drawingml/2006/table">
            <a:tbl>
              <a:tblPr firstRow="1" firstCol="1" lastRow="1" bandRow="1">
                <a:tableStyleId>{5C22544A-7EE6-4342-B048-85BDC9FD1C3A}</a:tableStyleId>
              </a:tblPr>
              <a:tblGrid>
                <a:gridCol w="1971675">
                  <a:extLst>
                    <a:ext uri="{9D8B030D-6E8A-4147-A177-3AD203B41FA5}">
                      <a16:colId xmlns:a16="http://schemas.microsoft.com/office/drawing/2014/main" val="2504970614"/>
                    </a:ext>
                  </a:extLst>
                </a:gridCol>
                <a:gridCol w="1971675">
                  <a:extLst>
                    <a:ext uri="{9D8B030D-6E8A-4147-A177-3AD203B41FA5}">
                      <a16:colId xmlns:a16="http://schemas.microsoft.com/office/drawing/2014/main" val="486136752"/>
                    </a:ext>
                  </a:extLst>
                </a:gridCol>
                <a:gridCol w="1971675">
                  <a:extLst>
                    <a:ext uri="{9D8B030D-6E8A-4147-A177-3AD203B41FA5}">
                      <a16:colId xmlns:a16="http://schemas.microsoft.com/office/drawing/2014/main" val="2116031447"/>
                    </a:ext>
                  </a:extLst>
                </a:gridCol>
                <a:gridCol w="1971675">
                  <a:extLst>
                    <a:ext uri="{9D8B030D-6E8A-4147-A177-3AD203B41FA5}">
                      <a16:colId xmlns:a16="http://schemas.microsoft.com/office/drawing/2014/main" val="1077373093"/>
                    </a:ext>
                  </a:extLst>
                </a:gridCol>
              </a:tblGrid>
              <a:tr h="698830">
                <a:tc>
                  <a:txBody>
                    <a:bodyPr/>
                    <a:lstStyle/>
                    <a:p>
                      <a:pPr algn="l" fontAlgn="b"/>
                      <a:endParaRPr lang="cs-CZ"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cs-CZ" sz="1400" u="none" strike="noStrike">
                          <a:effectLst/>
                        </a:rPr>
                        <a:t>Počet nově diagnostikovaných</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hospitalizovaných</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úmrtí</a:t>
                      </a:r>
                      <a:endParaRPr lang="cs-CZ" sz="14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82221017"/>
                  </a:ext>
                </a:extLst>
              </a:tr>
              <a:tr h="255005">
                <a:tc>
                  <a:txBody>
                    <a:bodyPr/>
                    <a:lstStyle/>
                    <a:p>
                      <a:pPr algn="ctr" fontAlgn="ctr"/>
                      <a:r>
                        <a:rPr lang="cs-CZ" sz="1400" u="none" strike="noStrike">
                          <a:effectLst/>
                        </a:rPr>
                        <a:t>03/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51407860"/>
                  </a:ext>
                </a:extLst>
              </a:tr>
              <a:tr h="255005">
                <a:tc>
                  <a:txBody>
                    <a:bodyPr/>
                    <a:lstStyle/>
                    <a:p>
                      <a:pPr algn="ctr" fontAlgn="ctr"/>
                      <a:r>
                        <a:rPr lang="cs-CZ" sz="1400" u="none" strike="noStrike">
                          <a:effectLst/>
                        </a:rPr>
                        <a:t>04/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871256552"/>
                  </a:ext>
                </a:extLst>
              </a:tr>
              <a:tr h="255005">
                <a:tc>
                  <a:txBody>
                    <a:bodyPr/>
                    <a:lstStyle/>
                    <a:p>
                      <a:pPr algn="ctr" fontAlgn="ctr"/>
                      <a:r>
                        <a:rPr lang="cs-CZ" sz="1400" u="none" strike="noStrike">
                          <a:effectLst/>
                        </a:rPr>
                        <a:t>05/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38722085"/>
                  </a:ext>
                </a:extLst>
              </a:tr>
              <a:tr h="255005">
                <a:tc>
                  <a:txBody>
                    <a:bodyPr/>
                    <a:lstStyle/>
                    <a:p>
                      <a:pPr algn="ctr" fontAlgn="ctr"/>
                      <a:r>
                        <a:rPr lang="cs-CZ" sz="1400" u="none" strike="noStrike">
                          <a:effectLst/>
                        </a:rPr>
                        <a:t>06/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486323372"/>
                  </a:ext>
                </a:extLst>
              </a:tr>
              <a:tr h="255005">
                <a:tc>
                  <a:txBody>
                    <a:bodyPr/>
                    <a:lstStyle/>
                    <a:p>
                      <a:pPr algn="ctr" fontAlgn="ctr"/>
                      <a:r>
                        <a:rPr lang="cs-CZ" sz="1400" u="none" strike="noStrike">
                          <a:effectLst/>
                        </a:rPr>
                        <a:t>07/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62342802"/>
                  </a:ext>
                </a:extLst>
              </a:tr>
              <a:tr h="255005">
                <a:tc>
                  <a:txBody>
                    <a:bodyPr/>
                    <a:lstStyle/>
                    <a:p>
                      <a:pPr algn="ctr" fontAlgn="ctr"/>
                      <a:r>
                        <a:rPr lang="cs-CZ" sz="1400" u="none" strike="noStrike">
                          <a:effectLst/>
                        </a:rPr>
                        <a:t>08/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269365639"/>
                  </a:ext>
                </a:extLst>
              </a:tr>
              <a:tr h="255005">
                <a:tc>
                  <a:txBody>
                    <a:bodyPr/>
                    <a:lstStyle/>
                    <a:p>
                      <a:pPr algn="ctr" fontAlgn="ctr"/>
                      <a:r>
                        <a:rPr lang="cs-CZ" sz="1400" u="none" strike="noStrike">
                          <a:effectLst/>
                        </a:rPr>
                        <a:t>09/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 38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8973319"/>
                  </a:ext>
                </a:extLst>
              </a:tr>
              <a:tr h="255005">
                <a:tc>
                  <a:txBody>
                    <a:bodyPr/>
                    <a:lstStyle/>
                    <a:p>
                      <a:pPr algn="ctr" fontAlgn="ctr"/>
                      <a:r>
                        <a:rPr lang="cs-CZ" sz="1400" u="none" strike="noStrike" dirty="0">
                          <a:effectLst/>
                        </a:rPr>
                        <a:t>10/2020</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 73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407095629"/>
                  </a:ext>
                </a:extLst>
              </a:tr>
              <a:tr h="255005">
                <a:tc>
                  <a:txBody>
                    <a:bodyPr/>
                    <a:lstStyle/>
                    <a:p>
                      <a:pPr algn="ctr" fontAlgn="ctr"/>
                      <a:r>
                        <a:rPr lang="cs-CZ" sz="1400" u="none" strike="noStrike">
                          <a:effectLst/>
                        </a:rPr>
                        <a:t>11/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 939</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92</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388921178"/>
                  </a:ext>
                </a:extLst>
              </a:tr>
              <a:tr h="255005">
                <a:tc>
                  <a:txBody>
                    <a:bodyPr/>
                    <a:lstStyle/>
                    <a:p>
                      <a:pPr algn="ctr" fontAlgn="ctr"/>
                      <a:r>
                        <a:rPr lang="cs-CZ" sz="1400" u="none" strike="noStrike">
                          <a:effectLst/>
                        </a:rPr>
                        <a:t>12/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 61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extLst>
                  <a:ext uri="{0D108BD9-81ED-4DB2-BD59-A6C34878D82A}">
                    <a16:rowId xmlns:a16="http://schemas.microsoft.com/office/drawing/2014/main" val="1710372643"/>
                  </a:ext>
                </a:extLst>
              </a:tr>
              <a:tr h="255005">
                <a:tc>
                  <a:txBody>
                    <a:bodyPr/>
                    <a:lstStyle/>
                    <a:p>
                      <a:pPr algn="ctr" fontAlgn="ctr"/>
                      <a:r>
                        <a:rPr lang="cs-CZ" sz="1400" u="none" strike="noStrike">
                          <a:effectLst/>
                        </a:rPr>
                        <a:t>01/2021</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3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3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a:t>
                      </a:r>
                    </a:p>
                  </a:txBody>
                  <a:tcPr marL="9525" marR="9525" marT="9525" marB="0" anchor="ctr"/>
                </a:tc>
                <a:extLst>
                  <a:ext uri="{0D108BD9-81ED-4DB2-BD59-A6C34878D82A}">
                    <a16:rowId xmlns:a16="http://schemas.microsoft.com/office/drawing/2014/main" val="1760358995"/>
                  </a:ext>
                </a:extLst>
              </a:tr>
              <a:tr h="255005">
                <a:tc>
                  <a:txBody>
                    <a:bodyPr/>
                    <a:lstStyle/>
                    <a:p>
                      <a:pPr algn="ctr" fontAlgn="ctr"/>
                      <a:r>
                        <a:rPr lang="cs-CZ" sz="1400" u="none" strike="noStrike" dirty="0">
                          <a:effectLst/>
                        </a:rPr>
                        <a:t>02/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9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8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extLst>
                  <a:ext uri="{0D108BD9-81ED-4DB2-BD59-A6C34878D82A}">
                    <a16:rowId xmlns:a16="http://schemas.microsoft.com/office/drawing/2014/main" val="2966110923"/>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3/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 24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a:t>
                      </a:r>
                    </a:p>
                  </a:txBody>
                  <a:tcPr marL="9525" marR="9525" marT="9525" marB="0" anchor="ctr"/>
                </a:tc>
                <a:extLst>
                  <a:ext uri="{0D108BD9-81ED-4DB2-BD59-A6C34878D82A}">
                    <a16:rowId xmlns:a16="http://schemas.microsoft.com/office/drawing/2014/main" val="383359433"/>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4/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 46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a:t>
                      </a:r>
                    </a:p>
                  </a:txBody>
                  <a:tcPr marL="9525" marR="9525" marT="9525" marB="0" anchor="ctr"/>
                </a:tc>
                <a:extLst>
                  <a:ext uri="{0D108BD9-81ED-4DB2-BD59-A6C34878D82A}">
                    <a16:rowId xmlns:a16="http://schemas.microsoft.com/office/drawing/2014/main" val="946091120"/>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5/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99</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9</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a:t>
                      </a:r>
                    </a:p>
                  </a:txBody>
                  <a:tcPr marL="9525" marR="9525" marT="9525" marB="0" anchor="ctr"/>
                </a:tc>
                <a:extLst>
                  <a:ext uri="{0D108BD9-81ED-4DB2-BD59-A6C34878D82A}">
                    <a16:rowId xmlns:a16="http://schemas.microsoft.com/office/drawing/2014/main" val="2472319014"/>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6/2021 k 4. 6.</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636549190"/>
                  </a:ext>
                </a:extLst>
              </a:tr>
              <a:tr h="255005">
                <a:tc>
                  <a:txBody>
                    <a:bodyPr/>
                    <a:lstStyle/>
                    <a:p>
                      <a:pPr algn="ctr" fontAlgn="ctr"/>
                      <a:r>
                        <a:rPr lang="cs-CZ" sz="1400" u="none" strike="noStrike" dirty="0">
                          <a:effectLst/>
                        </a:rPr>
                        <a:t>CELKEM</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50 395</a:t>
                      </a: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1 026</a:t>
                      </a:r>
                    </a:p>
                  </a:txBody>
                  <a:tcPr marL="9525" marR="9525" marT="9525" marB="0" anchor="ctr"/>
                </a:tc>
                <a:tc>
                  <a:txBody>
                    <a:bodyPr/>
                    <a:lstStyle/>
                    <a:p>
                      <a:pPr algn="ctr" fontAlgn="ctr"/>
                      <a:r>
                        <a:rPr lang="cs-CZ" sz="1400" b="1" i="0" u="none" strike="noStrike" dirty="0">
                          <a:solidFill>
                            <a:srgbClr val="FFFFFF"/>
                          </a:solidFill>
                          <a:effectLst/>
                          <a:latin typeface="Arial" panose="020B0604020202020204" pitchFamily="34" charset="0"/>
                        </a:rPr>
                        <a:t>50</a:t>
                      </a:r>
                    </a:p>
                  </a:txBody>
                  <a:tcPr marL="9525" marR="9525" marT="9525" marB="0" anchor="ctr"/>
                </a:tc>
                <a:extLst>
                  <a:ext uri="{0D108BD9-81ED-4DB2-BD59-A6C34878D82A}">
                    <a16:rowId xmlns:a16="http://schemas.microsoft.com/office/drawing/2014/main" val="1711784112"/>
                  </a:ext>
                </a:extLst>
              </a:tr>
            </a:tbl>
          </a:graphicData>
        </a:graphic>
      </p:graphicFrame>
    </p:spTree>
    <p:extLst>
      <p:ext uri="{BB962C8B-B14F-4D97-AF65-F5344CB8AC3E}">
        <p14:creationId xmlns:p14="http://schemas.microsoft.com/office/powerpoint/2010/main" val="34966213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ABD238C7-16A1-47BC-9445-A34DC69921C8}"/>
              </a:ext>
            </a:extLst>
          </p:cNvPr>
          <p:cNvGraphicFramePr>
            <a:graphicFrameLocks noGrp="1"/>
          </p:cNvGraphicFramePr>
          <p:nvPr>
            <p:extLst>
              <p:ext uri="{D42A27DB-BD31-4B8C-83A1-F6EECF244321}">
                <p14:modId xmlns:p14="http://schemas.microsoft.com/office/powerpoint/2010/main" val="437821156"/>
              </p:ext>
            </p:extLst>
          </p:nvPr>
        </p:nvGraphicFramePr>
        <p:xfrm>
          <a:off x="3400425" y="1914501"/>
          <a:ext cx="5010150" cy="3973995"/>
        </p:xfrm>
        <a:graphic>
          <a:graphicData uri="http://schemas.openxmlformats.org/drawingml/2006/table">
            <a:tbl>
              <a:tblPr/>
              <a:tblGrid>
                <a:gridCol w="2505075">
                  <a:extLst>
                    <a:ext uri="{9D8B030D-6E8A-4147-A177-3AD203B41FA5}">
                      <a16:colId xmlns:a16="http://schemas.microsoft.com/office/drawing/2014/main" val="4146488043"/>
                    </a:ext>
                  </a:extLst>
                </a:gridCol>
                <a:gridCol w="2505075">
                  <a:extLst>
                    <a:ext uri="{9D8B030D-6E8A-4147-A177-3AD203B41FA5}">
                      <a16:colId xmlns:a16="http://schemas.microsoft.com/office/drawing/2014/main" val="3249429034"/>
                    </a:ext>
                  </a:extLst>
                </a:gridCol>
              </a:tblGrid>
              <a:tr h="264933">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CD37F"/>
                    </a:solidFill>
                  </a:tcPr>
                </a:tc>
                <a:extLst>
                  <a:ext uri="{0D108BD9-81ED-4DB2-BD59-A6C34878D82A}">
                    <a16:rowId xmlns:a16="http://schemas.microsoft.com/office/drawing/2014/main" val="1593579063"/>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8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DD880"/>
                    </a:solidFill>
                  </a:tcPr>
                </a:tc>
                <a:extLst>
                  <a:ext uri="{0D108BD9-81ED-4DB2-BD59-A6C34878D82A}">
                    <a16:rowId xmlns:a16="http://schemas.microsoft.com/office/drawing/2014/main" val="1969725914"/>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extLst>
                  <a:ext uri="{0D108BD9-81ED-4DB2-BD59-A6C34878D82A}">
                    <a16:rowId xmlns:a16="http://schemas.microsoft.com/office/drawing/2014/main" val="987270404"/>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F"/>
                    </a:solidFill>
                  </a:tcPr>
                </a:tc>
                <a:extLst>
                  <a:ext uri="{0D108BD9-81ED-4DB2-BD59-A6C34878D82A}">
                    <a16:rowId xmlns:a16="http://schemas.microsoft.com/office/drawing/2014/main" val="4241660520"/>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3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6D67F"/>
                    </a:solidFill>
                  </a:tcPr>
                </a:tc>
                <a:extLst>
                  <a:ext uri="{0D108BD9-81ED-4DB2-BD59-A6C34878D82A}">
                    <a16:rowId xmlns:a16="http://schemas.microsoft.com/office/drawing/2014/main" val="3087942611"/>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2770447281"/>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8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4130821548"/>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3468355468"/>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C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4BE7B"/>
                    </a:solidFill>
                  </a:tcPr>
                </a:tc>
                <a:extLst>
                  <a:ext uri="{0D108BD9-81ED-4DB2-BD59-A6C34878D82A}">
                    <a16:rowId xmlns:a16="http://schemas.microsoft.com/office/drawing/2014/main" val="1932811122"/>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B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2DE81"/>
                    </a:solidFill>
                  </a:tcPr>
                </a:tc>
                <a:extLst>
                  <a:ext uri="{0D108BD9-81ED-4DB2-BD59-A6C34878D82A}">
                    <a16:rowId xmlns:a16="http://schemas.microsoft.com/office/drawing/2014/main" val="3857480754"/>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extLst>
                  <a:ext uri="{0D108BD9-81ED-4DB2-BD59-A6C34878D82A}">
                    <a16:rowId xmlns:a16="http://schemas.microsoft.com/office/drawing/2014/main" val="283318825"/>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E7C"/>
                    </a:solidFill>
                  </a:tcPr>
                </a:tc>
                <a:extLst>
                  <a:ext uri="{0D108BD9-81ED-4DB2-BD59-A6C34878D82A}">
                    <a16:rowId xmlns:a16="http://schemas.microsoft.com/office/drawing/2014/main" val="1919072486"/>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079"/>
                    </a:solidFill>
                  </a:tcPr>
                </a:tc>
                <a:extLst>
                  <a:ext uri="{0D108BD9-81ED-4DB2-BD59-A6C34878D82A}">
                    <a16:rowId xmlns:a16="http://schemas.microsoft.com/office/drawing/2014/main" val="2343425444"/>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extLst>
                  <a:ext uri="{0D108BD9-81ED-4DB2-BD59-A6C34878D82A}">
                    <a16:rowId xmlns:a16="http://schemas.microsoft.com/office/drawing/2014/main" val="2841387427"/>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FE182"/>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2786563419"/>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3799239883"/>
              </p:ext>
            </p:extLst>
          </p:nvPr>
        </p:nvGraphicFramePr>
        <p:xfrm>
          <a:off x="421759" y="1139463"/>
          <a:ext cx="11138180" cy="4751712"/>
        </p:xfrm>
        <a:graphic>
          <a:graphicData uri="http://schemas.openxmlformats.org/drawingml/2006/table">
            <a:tbl>
              <a:tblPr/>
              <a:tblGrid>
                <a:gridCol w="2984152">
                  <a:extLst>
                    <a:ext uri="{9D8B030D-6E8A-4147-A177-3AD203B41FA5}">
                      <a16:colId xmlns:a16="http://schemas.microsoft.com/office/drawing/2014/main" val="2590966169"/>
                    </a:ext>
                  </a:extLst>
                </a:gridCol>
                <a:gridCol w="2499153">
                  <a:extLst>
                    <a:ext uri="{9D8B030D-6E8A-4147-A177-3AD203B41FA5}">
                      <a16:colId xmlns:a16="http://schemas.microsoft.com/office/drawing/2014/main" val="1196958163"/>
                    </a:ext>
                  </a:extLst>
                </a:gridCol>
                <a:gridCol w="2499153">
                  <a:extLst>
                    <a:ext uri="{9D8B030D-6E8A-4147-A177-3AD203B41FA5}">
                      <a16:colId xmlns:a16="http://schemas.microsoft.com/office/drawing/2014/main" val="1590475166"/>
                    </a:ext>
                  </a:extLst>
                </a:gridCol>
                <a:gridCol w="1577861">
                  <a:extLst>
                    <a:ext uri="{9D8B030D-6E8A-4147-A177-3AD203B41FA5}">
                      <a16:colId xmlns:a16="http://schemas.microsoft.com/office/drawing/2014/main" val="121150438"/>
                    </a:ext>
                  </a:extLst>
                </a:gridCol>
                <a:gridCol w="1577861">
                  <a:extLst>
                    <a:ext uri="{9D8B030D-6E8A-4147-A177-3AD203B41FA5}">
                      <a16:colId xmlns:a16="http://schemas.microsoft.com/office/drawing/2014/main" val="3550961818"/>
                    </a:ext>
                  </a:extLst>
                </a:gridCol>
              </a:tblGrid>
              <a:tr h="776232">
                <a:tc>
                  <a:txBody>
                    <a:bodyPr/>
                    <a:lstStyle/>
                    <a:p>
                      <a:pPr algn="l" fontAlgn="b"/>
                      <a:endParaRPr lang="cs-CZ" sz="1400" b="0" i="0" u="none" strike="noStrike">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Celkový kumulativní počet</a:t>
                      </a:r>
                    </a:p>
                    <a:p>
                      <a:pPr algn="ctr" fontAlgn="ct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Aktuálně pozitivn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Vyléče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Zemřel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710 (19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0 (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6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6 990 (3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1 (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 9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65032">
                <a:tc>
                  <a:txBody>
                    <a:bodyPr/>
                    <a:lstStyle/>
                    <a:p>
                      <a:pPr algn="l" fontAlgn="ctr"/>
                      <a:r>
                        <a:rPr lang="cs-CZ" sz="14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035 (2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 (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65032">
                <a:tc>
                  <a:txBody>
                    <a:bodyPr/>
                    <a:lstStyle/>
                    <a:p>
                      <a:pPr algn="l" fontAlgn="ctr"/>
                      <a:r>
                        <a:rPr lang="cs-CZ" sz="14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925 (31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0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65032">
                <a:tc>
                  <a:txBody>
                    <a:bodyPr/>
                    <a:lstStyle/>
                    <a:p>
                      <a:pPr algn="l" fontAlgn="ctr"/>
                      <a:r>
                        <a:rPr lang="cs-CZ" sz="1400" b="1" i="0" u="none" strike="noStrike">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94 (3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4 394 (33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0 (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3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403 (3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5 (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3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65032">
                <a:tc>
                  <a:txBody>
                    <a:bodyPr/>
                    <a:lstStyle/>
                    <a:p>
                      <a:pPr algn="l" fontAlgn="ctr"/>
                      <a:r>
                        <a:rPr lang="cs-CZ" sz="14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013 (32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797 (31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7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65032">
                <a:tc>
                  <a:txBody>
                    <a:bodyPr/>
                    <a:lstStyle/>
                    <a:p>
                      <a:pPr algn="l" fontAlgn="ctr"/>
                      <a:r>
                        <a:rPr lang="cs-CZ" sz="14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334 (27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3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65032">
                <a:tc>
                  <a:txBody>
                    <a:bodyPr/>
                    <a:lstStyle/>
                    <a:p>
                      <a:pPr algn="l" fontAlgn="ctr"/>
                      <a:r>
                        <a:rPr lang="cs-CZ" sz="14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569 (23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5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106 (29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950 (3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5 775 (29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7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65032">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a:solidFill>
                            <a:srgbClr val="000000"/>
                          </a:solidFill>
                          <a:effectLst/>
                          <a:latin typeface="Calibri" panose="020F0502020204030204" pitchFamily="34" charset="0"/>
                        </a:rPr>
                        <a:t>50 395 (28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136 (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50 2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dirty="0">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1" y="681702"/>
            <a:ext cx="9432423"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období </a:t>
            </a:r>
            <a:r>
              <a:rPr kumimoji="0" lang="cs-CZ"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4. 6. 2021</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513605" y="6212502"/>
            <a:ext cx="9161839" cy="276999"/>
          </a:xfrm>
          <a:prstGeom prst="rect">
            <a:avLst/>
          </a:prstGeom>
          <a:noFill/>
        </p:spPr>
        <p:txBody>
          <a:bodyPr wrap="square" rtlCol="0">
            <a:spAutoFit/>
          </a:bodyPr>
          <a:lstStyle/>
          <a:p>
            <a:r>
              <a:rPr lang="cs-CZ" sz="1200" b="1" dirty="0"/>
              <a:t>Barevná škála vizualizuje rozsah hodnot počtu pozitivních na 1000 pedagogů a vychovatelů mezi územími</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4217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3328589" y="5912001"/>
            <a:ext cx="8115849" cy="276999"/>
          </a:xfrm>
          <a:prstGeom prst="rect">
            <a:avLst/>
          </a:prstGeom>
        </p:spPr>
        <p:txBody>
          <a:bodyPr wrap="square">
            <a:spAutoFit/>
          </a:bodyPr>
          <a:lstStyle/>
          <a:p>
            <a:r>
              <a:rPr lang="cs-CZ" sz="1200" dirty="0">
                <a:solidFill>
                  <a:srgbClr val="000000"/>
                </a:solidFill>
                <a:latin typeface="Calibri" panose="020F0502020204030204" pitchFamily="34" charset="0"/>
              </a:rPr>
              <a:t>*údaje MŠMT pouze za MŠ, ZŠ, SŠ a VOŠ ve </a:t>
            </a:r>
            <a:r>
              <a:rPr lang="cs-CZ" sz="1200" dirty="0" err="1">
                <a:solidFill>
                  <a:srgbClr val="000000"/>
                </a:solidFill>
                <a:latin typeface="Calibri" panose="020F0502020204030204" pitchFamily="34" charset="0"/>
              </a:rPr>
              <a:t>šk</a:t>
            </a:r>
            <a:r>
              <a:rPr lang="cs-CZ" sz="1200" dirty="0">
                <a:solidFill>
                  <a:srgbClr val="000000"/>
                </a:solidFill>
                <a:latin typeface="Calibri" panose="020F0502020204030204" pitchFamily="34" charset="0"/>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86933AA4-7AE4-44E7-83B3-A5B291DB8C4F}"/>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Tree>
    <p:extLst>
      <p:ext uri="{BB962C8B-B14F-4D97-AF65-F5344CB8AC3E}">
        <p14:creationId xmlns:p14="http://schemas.microsoft.com/office/powerpoint/2010/main" val="4208030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A610A139-BF6C-4536-8CB9-33E48E8F38F3}"/>
              </a:ext>
            </a:extLst>
          </p:cNvPr>
          <p:cNvGraphicFramePr>
            <a:graphicFrameLocks noGrp="1"/>
          </p:cNvGraphicFramePr>
          <p:nvPr>
            <p:extLst>
              <p:ext uri="{D42A27DB-BD31-4B8C-83A1-F6EECF244321}">
                <p14:modId xmlns:p14="http://schemas.microsoft.com/office/powerpoint/2010/main" val="2592949303"/>
              </p:ext>
            </p:extLst>
          </p:nvPr>
        </p:nvGraphicFramePr>
        <p:xfrm>
          <a:off x="1883931" y="1477168"/>
          <a:ext cx="10101568" cy="4630770"/>
        </p:xfrm>
        <a:graphic>
          <a:graphicData uri="http://schemas.openxmlformats.org/drawingml/2006/table">
            <a:tbl>
              <a:tblPr/>
              <a:tblGrid>
                <a:gridCol w="631348">
                  <a:extLst>
                    <a:ext uri="{9D8B030D-6E8A-4147-A177-3AD203B41FA5}">
                      <a16:colId xmlns:a16="http://schemas.microsoft.com/office/drawing/2014/main" val="3072292559"/>
                    </a:ext>
                  </a:extLst>
                </a:gridCol>
                <a:gridCol w="631348">
                  <a:extLst>
                    <a:ext uri="{9D8B030D-6E8A-4147-A177-3AD203B41FA5}">
                      <a16:colId xmlns:a16="http://schemas.microsoft.com/office/drawing/2014/main" val="2162035898"/>
                    </a:ext>
                  </a:extLst>
                </a:gridCol>
                <a:gridCol w="631348">
                  <a:extLst>
                    <a:ext uri="{9D8B030D-6E8A-4147-A177-3AD203B41FA5}">
                      <a16:colId xmlns:a16="http://schemas.microsoft.com/office/drawing/2014/main" val="2770699601"/>
                    </a:ext>
                  </a:extLst>
                </a:gridCol>
                <a:gridCol w="631348">
                  <a:extLst>
                    <a:ext uri="{9D8B030D-6E8A-4147-A177-3AD203B41FA5}">
                      <a16:colId xmlns:a16="http://schemas.microsoft.com/office/drawing/2014/main" val="3930117247"/>
                    </a:ext>
                  </a:extLst>
                </a:gridCol>
                <a:gridCol w="631348">
                  <a:extLst>
                    <a:ext uri="{9D8B030D-6E8A-4147-A177-3AD203B41FA5}">
                      <a16:colId xmlns:a16="http://schemas.microsoft.com/office/drawing/2014/main" val="3317437304"/>
                    </a:ext>
                  </a:extLst>
                </a:gridCol>
                <a:gridCol w="631348">
                  <a:extLst>
                    <a:ext uri="{9D8B030D-6E8A-4147-A177-3AD203B41FA5}">
                      <a16:colId xmlns:a16="http://schemas.microsoft.com/office/drawing/2014/main" val="928074057"/>
                    </a:ext>
                  </a:extLst>
                </a:gridCol>
                <a:gridCol w="631348">
                  <a:extLst>
                    <a:ext uri="{9D8B030D-6E8A-4147-A177-3AD203B41FA5}">
                      <a16:colId xmlns:a16="http://schemas.microsoft.com/office/drawing/2014/main" val="1402773558"/>
                    </a:ext>
                  </a:extLst>
                </a:gridCol>
                <a:gridCol w="631348">
                  <a:extLst>
                    <a:ext uri="{9D8B030D-6E8A-4147-A177-3AD203B41FA5}">
                      <a16:colId xmlns:a16="http://schemas.microsoft.com/office/drawing/2014/main" val="3619686135"/>
                    </a:ext>
                  </a:extLst>
                </a:gridCol>
                <a:gridCol w="631348">
                  <a:extLst>
                    <a:ext uri="{9D8B030D-6E8A-4147-A177-3AD203B41FA5}">
                      <a16:colId xmlns:a16="http://schemas.microsoft.com/office/drawing/2014/main" val="868409763"/>
                    </a:ext>
                  </a:extLst>
                </a:gridCol>
                <a:gridCol w="631348">
                  <a:extLst>
                    <a:ext uri="{9D8B030D-6E8A-4147-A177-3AD203B41FA5}">
                      <a16:colId xmlns:a16="http://schemas.microsoft.com/office/drawing/2014/main" val="169256220"/>
                    </a:ext>
                  </a:extLst>
                </a:gridCol>
                <a:gridCol w="631348">
                  <a:extLst>
                    <a:ext uri="{9D8B030D-6E8A-4147-A177-3AD203B41FA5}">
                      <a16:colId xmlns:a16="http://schemas.microsoft.com/office/drawing/2014/main" val="1977915245"/>
                    </a:ext>
                  </a:extLst>
                </a:gridCol>
                <a:gridCol w="631348">
                  <a:extLst>
                    <a:ext uri="{9D8B030D-6E8A-4147-A177-3AD203B41FA5}">
                      <a16:colId xmlns:a16="http://schemas.microsoft.com/office/drawing/2014/main" val="2756720209"/>
                    </a:ext>
                  </a:extLst>
                </a:gridCol>
                <a:gridCol w="631348">
                  <a:extLst>
                    <a:ext uri="{9D8B030D-6E8A-4147-A177-3AD203B41FA5}">
                      <a16:colId xmlns:a16="http://schemas.microsoft.com/office/drawing/2014/main" val="1193544349"/>
                    </a:ext>
                  </a:extLst>
                </a:gridCol>
                <a:gridCol w="631348">
                  <a:extLst>
                    <a:ext uri="{9D8B030D-6E8A-4147-A177-3AD203B41FA5}">
                      <a16:colId xmlns:a16="http://schemas.microsoft.com/office/drawing/2014/main" val="384720309"/>
                    </a:ext>
                  </a:extLst>
                </a:gridCol>
                <a:gridCol w="631348">
                  <a:extLst>
                    <a:ext uri="{9D8B030D-6E8A-4147-A177-3AD203B41FA5}">
                      <a16:colId xmlns:a16="http://schemas.microsoft.com/office/drawing/2014/main" val="4040852356"/>
                    </a:ext>
                  </a:extLst>
                </a:gridCol>
                <a:gridCol w="631348">
                  <a:extLst>
                    <a:ext uri="{9D8B030D-6E8A-4147-A177-3AD203B41FA5}">
                      <a16:colId xmlns:a16="http://schemas.microsoft.com/office/drawing/2014/main" val="3445118983"/>
                    </a:ext>
                  </a:extLst>
                </a:gridCol>
              </a:tblGrid>
              <a:tr h="308718">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C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D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C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7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E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AD27F"/>
                    </a:solidFill>
                  </a:tcPr>
                </a:tc>
                <a:extLst>
                  <a:ext uri="{0D108BD9-81ED-4DB2-BD59-A6C34878D82A}">
                    <a16:rowId xmlns:a16="http://schemas.microsoft.com/office/drawing/2014/main" val="1502098833"/>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F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4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8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3596653133"/>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9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8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8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C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8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5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A84"/>
                    </a:solidFill>
                  </a:tcPr>
                </a:tc>
                <a:extLst>
                  <a:ext uri="{0D108BD9-81ED-4DB2-BD59-A6C34878D82A}">
                    <a16:rowId xmlns:a16="http://schemas.microsoft.com/office/drawing/2014/main" val="3584245762"/>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3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7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E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483697098"/>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2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8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9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4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C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183775569"/>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8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A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4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3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8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2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7E482"/>
                    </a:solidFill>
                  </a:tcPr>
                </a:tc>
                <a:extLst>
                  <a:ext uri="{0D108BD9-81ED-4DB2-BD59-A6C34878D82A}">
                    <a16:rowId xmlns:a16="http://schemas.microsoft.com/office/drawing/2014/main" val="3975154810"/>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EC1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0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B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F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E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630499273"/>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5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A0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B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3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E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ECA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91314046"/>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D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A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D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4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5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844525412"/>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5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F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1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extLst>
                  <a:ext uri="{0D108BD9-81ED-4DB2-BD59-A6C34878D82A}">
                    <a16:rowId xmlns:a16="http://schemas.microsoft.com/office/drawing/2014/main" val="1291647704"/>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2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6C3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9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3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8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975"/>
                    </a:solidFill>
                  </a:tcPr>
                </a:tc>
                <a:extLst>
                  <a:ext uri="{0D108BD9-81ED-4DB2-BD59-A6C34878D82A}">
                    <a16:rowId xmlns:a16="http://schemas.microsoft.com/office/drawing/2014/main" val="3669418127"/>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A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9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777"/>
                    </a:solidFill>
                  </a:tcPr>
                </a:tc>
                <a:extLst>
                  <a:ext uri="{0D108BD9-81ED-4DB2-BD59-A6C34878D82A}">
                    <a16:rowId xmlns:a16="http://schemas.microsoft.com/office/drawing/2014/main" val="3270410330"/>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1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B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C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extLst>
                  <a:ext uri="{0D108BD9-81ED-4DB2-BD59-A6C34878D82A}">
                    <a16:rowId xmlns:a16="http://schemas.microsoft.com/office/drawing/2014/main" val="3481111111"/>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C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B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A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07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D7C"/>
                    </a:solidFill>
                  </a:tcPr>
                </a:tc>
                <a:extLst>
                  <a:ext uri="{0D108BD9-81ED-4DB2-BD59-A6C34878D82A}">
                    <a16:rowId xmlns:a16="http://schemas.microsoft.com/office/drawing/2014/main" val="1704642528"/>
                  </a:ext>
                </a:extLst>
              </a:tr>
              <a:tr h="30871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D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6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6E8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2791805224"/>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2637856765"/>
              </p:ext>
            </p:extLst>
          </p:nvPr>
        </p:nvGraphicFramePr>
        <p:xfrm>
          <a:off x="136733" y="931697"/>
          <a:ext cx="11848766" cy="5182170"/>
        </p:xfrm>
        <a:graphic>
          <a:graphicData uri="http://schemas.openxmlformats.org/drawingml/2006/table">
            <a:tbl>
              <a:tblPr/>
              <a:tblGrid>
                <a:gridCol w="1746766">
                  <a:extLst>
                    <a:ext uri="{9D8B030D-6E8A-4147-A177-3AD203B41FA5}">
                      <a16:colId xmlns:a16="http://schemas.microsoft.com/office/drawing/2014/main" val="2590966169"/>
                    </a:ext>
                  </a:extLst>
                </a:gridCol>
                <a:gridCol w="631375">
                  <a:extLst>
                    <a:ext uri="{9D8B030D-6E8A-4147-A177-3AD203B41FA5}">
                      <a16:colId xmlns:a16="http://schemas.microsoft.com/office/drawing/2014/main" val="1196958163"/>
                    </a:ext>
                  </a:extLst>
                </a:gridCol>
                <a:gridCol w="631375">
                  <a:extLst>
                    <a:ext uri="{9D8B030D-6E8A-4147-A177-3AD203B41FA5}">
                      <a16:colId xmlns:a16="http://schemas.microsoft.com/office/drawing/2014/main" val="121150438"/>
                    </a:ext>
                  </a:extLst>
                </a:gridCol>
                <a:gridCol w="631375">
                  <a:extLst>
                    <a:ext uri="{9D8B030D-6E8A-4147-A177-3AD203B41FA5}">
                      <a16:colId xmlns:a16="http://schemas.microsoft.com/office/drawing/2014/main" val="3550961818"/>
                    </a:ext>
                  </a:extLst>
                </a:gridCol>
                <a:gridCol w="631375">
                  <a:extLst>
                    <a:ext uri="{9D8B030D-6E8A-4147-A177-3AD203B41FA5}">
                      <a16:colId xmlns:a16="http://schemas.microsoft.com/office/drawing/2014/main" val="1939637864"/>
                    </a:ext>
                  </a:extLst>
                </a:gridCol>
                <a:gridCol w="631375">
                  <a:extLst>
                    <a:ext uri="{9D8B030D-6E8A-4147-A177-3AD203B41FA5}">
                      <a16:colId xmlns:a16="http://schemas.microsoft.com/office/drawing/2014/main" val="1743676148"/>
                    </a:ext>
                  </a:extLst>
                </a:gridCol>
                <a:gridCol w="631375">
                  <a:extLst>
                    <a:ext uri="{9D8B030D-6E8A-4147-A177-3AD203B41FA5}">
                      <a16:colId xmlns:a16="http://schemas.microsoft.com/office/drawing/2014/main" val="1611008887"/>
                    </a:ext>
                  </a:extLst>
                </a:gridCol>
                <a:gridCol w="631375">
                  <a:extLst>
                    <a:ext uri="{9D8B030D-6E8A-4147-A177-3AD203B41FA5}">
                      <a16:colId xmlns:a16="http://schemas.microsoft.com/office/drawing/2014/main" val="1142774839"/>
                    </a:ext>
                  </a:extLst>
                </a:gridCol>
                <a:gridCol w="631375">
                  <a:extLst>
                    <a:ext uri="{9D8B030D-6E8A-4147-A177-3AD203B41FA5}">
                      <a16:colId xmlns:a16="http://schemas.microsoft.com/office/drawing/2014/main" val="1878553483"/>
                    </a:ext>
                  </a:extLst>
                </a:gridCol>
                <a:gridCol w="631375">
                  <a:extLst>
                    <a:ext uri="{9D8B030D-6E8A-4147-A177-3AD203B41FA5}">
                      <a16:colId xmlns:a16="http://schemas.microsoft.com/office/drawing/2014/main" val="3009039950"/>
                    </a:ext>
                  </a:extLst>
                </a:gridCol>
                <a:gridCol w="631375">
                  <a:extLst>
                    <a:ext uri="{9D8B030D-6E8A-4147-A177-3AD203B41FA5}">
                      <a16:colId xmlns:a16="http://schemas.microsoft.com/office/drawing/2014/main" val="2492149421"/>
                    </a:ext>
                  </a:extLst>
                </a:gridCol>
                <a:gridCol w="631375">
                  <a:extLst>
                    <a:ext uri="{9D8B030D-6E8A-4147-A177-3AD203B41FA5}">
                      <a16:colId xmlns:a16="http://schemas.microsoft.com/office/drawing/2014/main" val="833606458"/>
                    </a:ext>
                  </a:extLst>
                </a:gridCol>
                <a:gridCol w="631375">
                  <a:extLst>
                    <a:ext uri="{9D8B030D-6E8A-4147-A177-3AD203B41FA5}">
                      <a16:colId xmlns:a16="http://schemas.microsoft.com/office/drawing/2014/main" val="2415000608"/>
                    </a:ext>
                  </a:extLst>
                </a:gridCol>
                <a:gridCol w="631375">
                  <a:extLst>
                    <a:ext uri="{9D8B030D-6E8A-4147-A177-3AD203B41FA5}">
                      <a16:colId xmlns:a16="http://schemas.microsoft.com/office/drawing/2014/main" val="1051332643"/>
                    </a:ext>
                  </a:extLst>
                </a:gridCol>
                <a:gridCol w="631375">
                  <a:extLst>
                    <a:ext uri="{9D8B030D-6E8A-4147-A177-3AD203B41FA5}">
                      <a16:colId xmlns:a16="http://schemas.microsoft.com/office/drawing/2014/main" val="2396824443"/>
                    </a:ext>
                  </a:extLst>
                </a:gridCol>
                <a:gridCol w="631375">
                  <a:extLst>
                    <a:ext uri="{9D8B030D-6E8A-4147-A177-3AD203B41FA5}">
                      <a16:colId xmlns:a16="http://schemas.microsoft.com/office/drawing/2014/main" val="3505082613"/>
                    </a:ext>
                  </a:extLst>
                </a:gridCol>
                <a:gridCol w="631375">
                  <a:extLst>
                    <a:ext uri="{9D8B030D-6E8A-4147-A177-3AD203B41FA5}">
                      <a16:colId xmlns:a16="http://schemas.microsoft.com/office/drawing/2014/main" val="759497733"/>
                    </a:ext>
                  </a:extLst>
                </a:gridCol>
              </a:tblGrid>
              <a:tr h="542719">
                <a:tc>
                  <a:txBody>
                    <a:bodyPr/>
                    <a:lstStyle/>
                    <a:p>
                      <a:pPr algn="ctr" fontAlgn="ctr"/>
                      <a:r>
                        <a:rPr lang="cs-CZ" sz="1200" b="0" i="0" u="none" strike="noStrike" dirty="0">
                          <a:solidFill>
                            <a:srgbClr val="000000"/>
                          </a:solidFill>
                          <a:effectLst/>
                          <a:latin typeface="Calibri" panose="020F0502020204030204" pitchFamily="34" charset="0"/>
                        </a:rPr>
                        <a:t>Absolutní počet (počet na 1000 pedagogů a vychovatelů**) za obdob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3/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5/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6/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7/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8/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9/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0/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1/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2/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1/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2/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3/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5/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6/ 2021</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k 4. 6. </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4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44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7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4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dirty="0">
                          <a:solidFill>
                            <a:srgbClr val="000000"/>
                          </a:solidFill>
                          <a:effectLst/>
                          <a:latin typeface="Calibri" panose="020F0502020204030204" pitchFamily="34" charset="0"/>
                        </a:rPr>
                        <a:t>9</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5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0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4,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3,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3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9,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7,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9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5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6,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dirty="0">
                          <a:solidFill>
                            <a:srgbClr val="000000"/>
                          </a:solidFill>
                          <a:effectLst/>
                          <a:latin typeface="Calibri" panose="020F0502020204030204" pitchFamily="34" charset="0"/>
                        </a:rPr>
                        <a:t>135</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1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9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0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dirty="0">
                          <a:solidFill>
                            <a:srgbClr val="000000"/>
                          </a:solidFill>
                          <a:effectLst/>
                          <a:latin typeface="Calibri" panose="020F0502020204030204" pitchFamily="34" charset="0"/>
                        </a:rPr>
                        <a:t>177</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0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7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20</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3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6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7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23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3,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073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6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4939</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761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3,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803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809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624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dirty="0">
                          <a:solidFill>
                            <a:srgbClr val="000000"/>
                          </a:solidFill>
                          <a:effectLst/>
                          <a:latin typeface="Calibri" panose="020F0502020204030204" pitchFamily="34" charset="0"/>
                        </a:rPr>
                        <a:t>1467</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8,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dirty="0">
                          <a:solidFill>
                            <a:srgbClr val="000000"/>
                          </a:solidFill>
                          <a:effectLst/>
                          <a:latin typeface="Calibri" panose="020F0502020204030204" pitchFamily="34" charset="0"/>
                        </a:rPr>
                        <a:t>399</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2,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dirty="0">
                          <a:solidFill>
                            <a:srgbClr val="000000"/>
                          </a:solidFill>
                          <a:effectLst/>
                          <a:latin typeface="Calibri" panose="020F0502020204030204" pitchFamily="34" charset="0"/>
                        </a:rPr>
                        <a:t>16</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136733" y="531586"/>
            <a:ext cx="8579566"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ývoje počtu nově nakažených v regionech</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336327"/>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měsíce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377568"/>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6" name="Obdélník 15">
            <a:extLst>
              <a:ext uri="{FF2B5EF4-FFF2-40B4-BE49-F238E27FC236}">
                <a16:creationId xmlns:a16="http://schemas.microsoft.com/office/drawing/2014/main" id="{3FCEE2AA-AE27-4CB8-B306-EBD7C302DDA6}"/>
              </a:ext>
            </a:extLst>
          </p:cNvPr>
          <p:cNvSpPr/>
          <p:nvPr/>
        </p:nvSpPr>
        <p:spPr>
          <a:xfrm>
            <a:off x="206508" y="6125253"/>
            <a:ext cx="8579566" cy="261610"/>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Tree>
    <p:extLst>
      <p:ext uri="{BB962C8B-B14F-4D97-AF65-F5344CB8AC3E}">
        <p14:creationId xmlns:p14="http://schemas.microsoft.com/office/powerpoint/2010/main" val="31809926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FD1D16EE-EA7F-4575-86B9-A6EFF2C40BF4}"/>
              </a:ext>
            </a:extLst>
          </p:cNvPr>
          <p:cNvGraphicFramePr>
            <a:graphicFrameLocks noGrp="1"/>
          </p:cNvGraphicFramePr>
          <p:nvPr>
            <p:extLst>
              <p:ext uri="{D42A27DB-BD31-4B8C-83A1-F6EECF244321}">
                <p14:modId xmlns:p14="http://schemas.microsoft.com/office/powerpoint/2010/main" val="1510087992"/>
              </p:ext>
            </p:extLst>
          </p:nvPr>
        </p:nvGraphicFramePr>
        <p:xfrm>
          <a:off x="1952624" y="1956397"/>
          <a:ext cx="7713800" cy="4156215"/>
        </p:xfrm>
        <a:graphic>
          <a:graphicData uri="http://schemas.openxmlformats.org/drawingml/2006/table">
            <a:tbl>
              <a:tblPr/>
              <a:tblGrid>
                <a:gridCol w="964225">
                  <a:extLst>
                    <a:ext uri="{9D8B030D-6E8A-4147-A177-3AD203B41FA5}">
                      <a16:colId xmlns:a16="http://schemas.microsoft.com/office/drawing/2014/main" val="41955299"/>
                    </a:ext>
                  </a:extLst>
                </a:gridCol>
                <a:gridCol w="964225">
                  <a:extLst>
                    <a:ext uri="{9D8B030D-6E8A-4147-A177-3AD203B41FA5}">
                      <a16:colId xmlns:a16="http://schemas.microsoft.com/office/drawing/2014/main" val="2228707288"/>
                    </a:ext>
                  </a:extLst>
                </a:gridCol>
                <a:gridCol w="964225">
                  <a:extLst>
                    <a:ext uri="{9D8B030D-6E8A-4147-A177-3AD203B41FA5}">
                      <a16:colId xmlns:a16="http://schemas.microsoft.com/office/drawing/2014/main" val="632183452"/>
                    </a:ext>
                  </a:extLst>
                </a:gridCol>
                <a:gridCol w="964225">
                  <a:extLst>
                    <a:ext uri="{9D8B030D-6E8A-4147-A177-3AD203B41FA5}">
                      <a16:colId xmlns:a16="http://schemas.microsoft.com/office/drawing/2014/main" val="208692992"/>
                    </a:ext>
                  </a:extLst>
                </a:gridCol>
                <a:gridCol w="964225">
                  <a:extLst>
                    <a:ext uri="{9D8B030D-6E8A-4147-A177-3AD203B41FA5}">
                      <a16:colId xmlns:a16="http://schemas.microsoft.com/office/drawing/2014/main" val="935695838"/>
                    </a:ext>
                  </a:extLst>
                </a:gridCol>
                <a:gridCol w="964225">
                  <a:extLst>
                    <a:ext uri="{9D8B030D-6E8A-4147-A177-3AD203B41FA5}">
                      <a16:colId xmlns:a16="http://schemas.microsoft.com/office/drawing/2014/main" val="3373642929"/>
                    </a:ext>
                  </a:extLst>
                </a:gridCol>
                <a:gridCol w="964225">
                  <a:extLst>
                    <a:ext uri="{9D8B030D-6E8A-4147-A177-3AD203B41FA5}">
                      <a16:colId xmlns:a16="http://schemas.microsoft.com/office/drawing/2014/main" val="1540667621"/>
                    </a:ext>
                  </a:extLst>
                </a:gridCol>
                <a:gridCol w="964225">
                  <a:extLst>
                    <a:ext uri="{9D8B030D-6E8A-4147-A177-3AD203B41FA5}">
                      <a16:colId xmlns:a16="http://schemas.microsoft.com/office/drawing/2014/main" val="4027355721"/>
                    </a:ext>
                  </a:extLst>
                </a:gridCol>
              </a:tblGrid>
              <a:tr h="277081">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D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0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AD27F"/>
                    </a:solidFill>
                  </a:tcPr>
                </a:tc>
                <a:extLst>
                  <a:ext uri="{0D108BD9-81ED-4DB2-BD59-A6C34878D82A}">
                    <a16:rowId xmlns:a16="http://schemas.microsoft.com/office/drawing/2014/main" val="3616741307"/>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3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DD37F"/>
                    </a:solidFill>
                  </a:tcPr>
                </a:tc>
                <a:extLst>
                  <a:ext uri="{0D108BD9-81ED-4DB2-BD59-A6C34878D82A}">
                    <a16:rowId xmlns:a16="http://schemas.microsoft.com/office/drawing/2014/main" val="1714344898"/>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3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079"/>
                    </a:solidFill>
                  </a:tcPr>
                </a:tc>
                <a:extLst>
                  <a:ext uri="{0D108BD9-81ED-4DB2-BD59-A6C34878D82A}">
                    <a16:rowId xmlns:a16="http://schemas.microsoft.com/office/drawing/2014/main" val="1824932710"/>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C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6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0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7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3DE81"/>
                    </a:solidFill>
                  </a:tcPr>
                </a:tc>
                <a:extLst>
                  <a:ext uri="{0D108BD9-81ED-4DB2-BD59-A6C34878D82A}">
                    <a16:rowId xmlns:a16="http://schemas.microsoft.com/office/drawing/2014/main" val="2994446169"/>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C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6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9C47C"/>
                    </a:solidFill>
                  </a:tcPr>
                </a:tc>
                <a:extLst>
                  <a:ext uri="{0D108BD9-81ED-4DB2-BD59-A6C34878D82A}">
                    <a16:rowId xmlns:a16="http://schemas.microsoft.com/office/drawing/2014/main" val="1234821414"/>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8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86E"/>
                    </a:solidFill>
                  </a:tcPr>
                </a:tc>
                <a:extLst>
                  <a:ext uri="{0D108BD9-81ED-4DB2-BD59-A6C34878D82A}">
                    <a16:rowId xmlns:a16="http://schemas.microsoft.com/office/drawing/2014/main" val="2059670372"/>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27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extLst>
                  <a:ext uri="{0D108BD9-81ED-4DB2-BD59-A6C34878D82A}">
                    <a16:rowId xmlns:a16="http://schemas.microsoft.com/office/drawing/2014/main" val="286616899"/>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4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97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477270763"/>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6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D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B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EA83"/>
                    </a:solidFill>
                  </a:tcPr>
                </a:tc>
                <a:extLst>
                  <a:ext uri="{0D108BD9-81ED-4DB2-BD59-A6C34878D82A}">
                    <a16:rowId xmlns:a16="http://schemas.microsoft.com/office/drawing/2014/main" val="1619041959"/>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F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AD2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extLst>
                  <a:ext uri="{0D108BD9-81ED-4DB2-BD59-A6C34878D82A}">
                    <a16:rowId xmlns:a16="http://schemas.microsoft.com/office/drawing/2014/main" val="3087359295"/>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7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4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D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E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47A"/>
                    </a:solidFill>
                  </a:tcPr>
                </a:tc>
                <a:extLst>
                  <a:ext uri="{0D108BD9-81ED-4DB2-BD59-A6C34878D82A}">
                    <a16:rowId xmlns:a16="http://schemas.microsoft.com/office/drawing/2014/main" val="3816578402"/>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6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E76"/>
                    </a:solidFill>
                  </a:tcPr>
                </a:tc>
                <a:extLst>
                  <a:ext uri="{0D108BD9-81ED-4DB2-BD59-A6C34878D82A}">
                    <a16:rowId xmlns:a16="http://schemas.microsoft.com/office/drawing/2014/main" val="4249298812"/>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7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F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3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3109298636"/>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77E"/>
                    </a:solidFill>
                  </a:tcPr>
                </a:tc>
                <a:extLst>
                  <a:ext uri="{0D108BD9-81ED-4DB2-BD59-A6C34878D82A}">
                    <a16:rowId xmlns:a16="http://schemas.microsoft.com/office/drawing/2014/main" val="3177382824"/>
                  </a:ext>
                </a:extLst>
              </a:tr>
              <a:tr h="277081">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C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2208460391"/>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3277863832"/>
              </p:ext>
            </p:extLst>
          </p:nvPr>
        </p:nvGraphicFramePr>
        <p:xfrm>
          <a:off x="101733" y="1139463"/>
          <a:ext cx="9564693" cy="4973202"/>
        </p:xfrm>
        <a:graphic>
          <a:graphicData uri="http://schemas.openxmlformats.org/drawingml/2006/table">
            <a:tbl>
              <a:tblPr/>
              <a:tblGrid>
                <a:gridCol w="1860541">
                  <a:extLst>
                    <a:ext uri="{9D8B030D-6E8A-4147-A177-3AD203B41FA5}">
                      <a16:colId xmlns:a16="http://schemas.microsoft.com/office/drawing/2014/main" val="2590966169"/>
                    </a:ext>
                  </a:extLst>
                </a:gridCol>
                <a:gridCol w="963019">
                  <a:extLst>
                    <a:ext uri="{9D8B030D-6E8A-4147-A177-3AD203B41FA5}">
                      <a16:colId xmlns:a16="http://schemas.microsoft.com/office/drawing/2014/main" val="1196958163"/>
                    </a:ext>
                  </a:extLst>
                </a:gridCol>
                <a:gridCol w="963019">
                  <a:extLst>
                    <a:ext uri="{9D8B030D-6E8A-4147-A177-3AD203B41FA5}">
                      <a16:colId xmlns:a16="http://schemas.microsoft.com/office/drawing/2014/main" val="121150438"/>
                    </a:ext>
                  </a:extLst>
                </a:gridCol>
                <a:gridCol w="963019">
                  <a:extLst>
                    <a:ext uri="{9D8B030D-6E8A-4147-A177-3AD203B41FA5}">
                      <a16:colId xmlns:a16="http://schemas.microsoft.com/office/drawing/2014/main" val="3550961818"/>
                    </a:ext>
                  </a:extLst>
                </a:gridCol>
                <a:gridCol w="963019">
                  <a:extLst>
                    <a:ext uri="{9D8B030D-6E8A-4147-A177-3AD203B41FA5}">
                      <a16:colId xmlns:a16="http://schemas.microsoft.com/office/drawing/2014/main" val="833606458"/>
                    </a:ext>
                  </a:extLst>
                </a:gridCol>
                <a:gridCol w="963019">
                  <a:extLst>
                    <a:ext uri="{9D8B030D-6E8A-4147-A177-3AD203B41FA5}">
                      <a16:colId xmlns:a16="http://schemas.microsoft.com/office/drawing/2014/main" val="2415000608"/>
                    </a:ext>
                  </a:extLst>
                </a:gridCol>
                <a:gridCol w="963019">
                  <a:extLst>
                    <a:ext uri="{9D8B030D-6E8A-4147-A177-3AD203B41FA5}">
                      <a16:colId xmlns:a16="http://schemas.microsoft.com/office/drawing/2014/main" val="2396824443"/>
                    </a:ext>
                  </a:extLst>
                </a:gridCol>
                <a:gridCol w="963019">
                  <a:extLst>
                    <a:ext uri="{9D8B030D-6E8A-4147-A177-3AD203B41FA5}">
                      <a16:colId xmlns:a16="http://schemas.microsoft.com/office/drawing/2014/main" val="1789203032"/>
                    </a:ext>
                  </a:extLst>
                </a:gridCol>
                <a:gridCol w="963019">
                  <a:extLst>
                    <a:ext uri="{9D8B030D-6E8A-4147-A177-3AD203B41FA5}">
                      <a16:colId xmlns:a16="http://schemas.microsoft.com/office/drawing/2014/main" val="3156901303"/>
                    </a:ext>
                  </a:extLst>
                </a:gridCol>
              </a:tblGrid>
              <a:tr h="445692">
                <a:tc rowSpan="2">
                  <a:txBody>
                    <a:bodyPr/>
                    <a:lstStyle/>
                    <a:p>
                      <a:pPr algn="l" fontAlgn="b"/>
                      <a:endParaRPr lang="cs-CZ" sz="1200" b="0" i="0" u="none" strike="noStrike" dirty="0">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8">
                  <a:txBody>
                    <a:bodyPr/>
                    <a:lstStyle/>
                    <a:p>
                      <a:pPr algn="ctr" fontAlgn="ctr"/>
                      <a:r>
                        <a:rPr lang="cs-CZ" sz="1200" b="1" i="0" u="none" strike="noStrike" dirty="0">
                          <a:solidFill>
                            <a:srgbClr val="000000"/>
                          </a:solidFill>
                          <a:effectLst/>
                          <a:latin typeface="Calibri" panose="020F0502020204030204" pitchFamily="34" charset="0"/>
                        </a:rPr>
                        <a:t>Celkový kumulativní počet za období</a:t>
                      </a:r>
                    </a:p>
                    <a:p>
                      <a:pPr algn="ctr" fontAlgn="ctr"/>
                      <a:r>
                        <a:rPr lang="cs-CZ" sz="1200" b="0" i="0" u="none" strike="noStrike" dirty="0">
                          <a:solidFill>
                            <a:srgbClr val="000000"/>
                          </a:solidFill>
                          <a:effectLst/>
                          <a:latin typeface="Calibri" panose="020F0502020204030204" pitchFamily="34" charset="0"/>
                        </a:rPr>
                        <a:t>absolutní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pPr algn="ctr" fontAlgn="ctr"/>
                      <a:endParaRPr lang="cs-CZ" sz="14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333984">
                <a:tc vMerge="1">
                  <a:txBody>
                    <a:bodyPr/>
                    <a:lstStyle/>
                    <a:p>
                      <a:pPr algn="l"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9. - 1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4.10. - 1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8.11. - 2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30.11. - 2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21.12. - 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 - 2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3. - 1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4. – 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276815">
                <a:tc>
                  <a:txBody>
                    <a:bodyPr/>
                    <a:lstStyle/>
                    <a:p>
                      <a:pPr algn="l" fontAlgn="ct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77 (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82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1 (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40 (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5 (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6 (4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31 (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 (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803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437 (6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2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9 (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538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87 (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030 (4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4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76815">
                <a:tc>
                  <a:txBody>
                    <a:bodyPr/>
                    <a:lstStyle/>
                    <a:p>
                      <a:pPr algn="l" fontAlgn="ct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44 (3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44 (7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7 (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6 (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7 (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87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65 (4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5 (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76815">
                <a:tc>
                  <a:txBody>
                    <a:bodyPr/>
                    <a:lstStyle/>
                    <a:p>
                      <a:pPr algn="l" fontAlgn="ctr"/>
                      <a:r>
                        <a:rPr lang="cs-CZ" sz="12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0 (3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3 (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0 (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8 (5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0 (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37 (4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3 (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0 (6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6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4 (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27 (9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64 (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431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137 (8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8 (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0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21 (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9 (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89 (5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39 (1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60 (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0 (7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4 (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07 (2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5 (6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5 (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7 (4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5 (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76815">
                <a:tc>
                  <a:txBody>
                    <a:bodyPr/>
                    <a:lstStyle/>
                    <a:p>
                      <a:pPr algn="l" fontAlgn="ct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96 (3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5 (6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7 (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3 (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00 (8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9 (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06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11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85 (6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88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7 (7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55 (5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11 (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9 (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76815">
                <a:tc>
                  <a:txBody>
                    <a:bodyPr/>
                    <a:lstStyle/>
                    <a:p>
                      <a:pPr algn="l" fontAlgn="ct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75 (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27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9 (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2 (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1 (5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9 (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0 (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1 (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76815">
                <a:tc>
                  <a:txBody>
                    <a:bodyPr/>
                    <a:lstStyle/>
                    <a:p>
                      <a:pPr algn="l" fontAlgn="ct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78 (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63 (4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6 (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15 (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24 (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13 (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3 (3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67 (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8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75 (7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20 (3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2 (6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72 (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48 (4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0 (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21 (4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96 (8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93 (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8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0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16 (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7 (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575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34 (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62 (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2 (3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672 (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9 (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4 (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76815">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5 792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252 (6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 366 (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4 459 (2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305 (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8 095 (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6 929 (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dirty="0">
                          <a:solidFill>
                            <a:srgbClr val="000000"/>
                          </a:solidFill>
                          <a:effectLst/>
                          <a:latin typeface="Calibri" panose="020F0502020204030204" pitchFamily="34" charset="0"/>
                        </a:rPr>
                        <a:t>1 197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2" y="681702"/>
            <a:ext cx="8579566"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vybraná období</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212502"/>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období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9641425" y="5323494"/>
            <a:ext cx="2516840" cy="830997"/>
          </a:xfrm>
          <a:prstGeom prst="rect">
            <a:avLst/>
          </a:prstGeom>
        </p:spPr>
        <p:txBody>
          <a:bodyPr wrap="square">
            <a:spAutoFit/>
          </a:bodyPr>
          <a:lstStyle/>
          <a:p>
            <a:r>
              <a:rPr lang="cs-CZ" sz="1200" dirty="0">
                <a:solidFill>
                  <a:srgbClr val="000000"/>
                </a:solidFill>
              </a:rPr>
              <a:t>** údaje MŠMT pouze za MŠ, ZŠ, SŠ a VOŠ ve </a:t>
            </a:r>
            <a:r>
              <a:rPr lang="cs-CZ" sz="1200" dirty="0" err="1">
                <a:solidFill>
                  <a:srgbClr val="000000"/>
                </a:solidFill>
              </a:rPr>
              <a:t>šk</a:t>
            </a:r>
            <a:r>
              <a:rPr lang="cs-CZ" sz="1200" dirty="0">
                <a:solidFill>
                  <a:srgbClr val="000000"/>
                </a:solidFill>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4" name="Obdélník 13">
            <a:extLst>
              <a:ext uri="{FF2B5EF4-FFF2-40B4-BE49-F238E27FC236}">
                <a16:creationId xmlns:a16="http://schemas.microsoft.com/office/drawing/2014/main" id="{310645A7-DEA5-4B2B-A406-0C0665616CDA}"/>
              </a:ext>
            </a:extLst>
          </p:cNvPr>
          <p:cNvSpPr/>
          <p:nvPr/>
        </p:nvSpPr>
        <p:spPr>
          <a:xfrm>
            <a:off x="9670282" y="1266492"/>
            <a:ext cx="2505075" cy="4016484"/>
          </a:xfrm>
          <a:prstGeom prst="rect">
            <a:avLst/>
          </a:prstGeom>
        </p:spPr>
        <p:txBody>
          <a:bodyPr wrap="square">
            <a:spAutoFit/>
          </a:bodyPr>
          <a:lstStyle/>
          <a:p>
            <a:pPr>
              <a:spcBef>
                <a:spcPts val="600"/>
              </a:spcBef>
            </a:pPr>
            <a:r>
              <a:rPr lang="cs-CZ" sz="1100" b="1" i="1" dirty="0"/>
              <a:t>* od 14. 10. 2020 uzavření všech škol (mimo mateřských)</a:t>
            </a:r>
          </a:p>
          <a:p>
            <a:pPr>
              <a:spcBef>
                <a:spcPts val="600"/>
              </a:spcBef>
            </a:pPr>
            <a:r>
              <a:rPr lang="cs-CZ" sz="1100" b="1" i="1" dirty="0"/>
              <a:t>od 18. 11. 2020návrat 1. a 2. tříd do škol, otevření speciálních škol a přípravných tříd</a:t>
            </a:r>
          </a:p>
          <a:p>
            <a:pPr>
              <a:spcBef>
                <a:spcPts val="600"/>
              </a:spcBef>
            </a:pPr>
            <a:r>
              <a:rPr lang="cs-CZ" sz="1100" i="1" dirty="0">
                <a:solidFill>
                  <a:srgbClr val="000000"/>
                </a:solidFill>
              </a:rPr>
              <a:t>od 25.11. Návrat studentů posledního ročníku SŠ a VOŠ, vybrané praktické výuky pro VŠ, SŠ, VOŠ</a:t>
            </a:r>
          </a:p>
          <a:p>
            <a:pPr>
              <a:spcBef>
                <a:spcPts val="600"/>
              </a:spcBef>
            </a:pPr>
            <a:r>
              <a:rPr lang="cs-CZ" sz="1100" b="1" i="1" dirty="0">
                <a:solidFill>
                  <a:srgbClr val="000000"/>
                </a:solidFill>
              </a:rPr>
              <a:t>od 30. 11. 2020 návrat zbytku ZŠ, 6. – 8. třídy v rotačním režimu</a:t>
            </a:r>
          </a:p>
          <a:p>
            <a:pPr>
              <a:spcBef>
                <a:spcPts val="600"/>
              </a:spcBef>
            </a:pPr>
            <a:r>
              <a:rPr lang="cs-CZ" sz="1100" b="1" i="1" dirty="0">
                <a:solidFill>
                  <a:srgbClr val="000000"/>
                </a:solidFill>
              </a:rPr>
              <a:t>od 7.12. návrat zbytku ročníků středních škol v rotačním režimu</a:t>
            </a:r>
            <a:r>
              <a:rPr lang="cs-CZ" sz="1100" b="1" i="1" dirty="0"/>
              <a:t> </a:t>
            </a:r>
          </a:p>
          <a:p>
            <a:pPr>
              <a:spcBef>
                <a:spcPts val="600"/>
              </a:spcBef>
            </a:pPr>
            <a:r>
              <a:rPr lang="cs-CZ" sz="1100" b="1" i="1" dirty="0"/>
              <a:t>od 21.12. do 3.1. vánoční školní prázdniny</a:t>
            </a:r>
          </a:p>
          <a:p>
            <a:pPr>
              <a:spcBef>
                <a:spcPts val="600"/>
              </a:spcBef>
            </a:pPr>
            <a:r>
              <a:rPr lang="cs-CZ" sz="1100" b="1" i="1" dirty="0"/>
              <a:t>od 1. 3. přerušení veškeré prezenční výuky</a:t>
            </a:r>
          </a:p>
          <a:p>
            <a:pPr>
              <a:spcBef>
                <a:spcPts val="600"/>
              </a:spcBef>
            </a:pPr>
            <a:r>
              <a:rPr lang="cs-CZ" sz="1100" b="1" i="1" dirty="0"/>
              <a:t>od 12. 4. obnovení prezenční výuky v nižších ročnících ZŠ, rotační režimy</a:t>
            </a:r>
          </a:p>
        </p:txBody>
      </p:sp>
    </p:spTree>
    <p:extLst>
      <p:ext uri="{BB962C8B-B14F-4D97-AF65-F5344CB8AC3E}">
        <p14:creationId xmlns:p14="http://schemas.microsoft.com/office/powerpoint/2010/main" val="22707899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délník 4">
            <a:extLst>
              <a:ext uri="{FF2B5EF4-FFF2-40B4-BE49-F238E27FC236}">
                <a16:creationId xmlns:a16="http://schemas.microsoft.com/office/drawing/2014/main" id="{CD96D264-7DB7-4540-BD2A-BEA7AA3CDE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ktuální počet COVID-19 pozitivních případů (prevalence), </a:t>
            </a:r>
            <a:r>
              <a:rPr lang="cs-CZ" sz="2000" b="1" dirty="0">
                <a:solidFill>
                  <a:srgbClr val="C00000"/>
                </a:solidFill>
                <a:latin typeface="Calibri" panose="020F0502020204030204" pitchFamily="34" charset="0"/>
              </a:rPr>
              <a:t>stav k 4. 6.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63520" y="2"/>
            <a:ext cx="7864952" cy="576000"/>
          </a:xfrm>
        </p:spPr>
        <p:txBody>
          <a:bodyPr/>
          <a:lstStyle/>
          <a:p>
            <a:r>
              <a:rPr lang="cs-CZ" dirty="0"/>
              <a:t>COVID-19 pozitivní pedagogové a další pracovníci ve školství</a:t>
            </a:r>
          </a:p>
        </p:txBody>
      </p:sp>
      <p:graphicFrame>
        <p:nvGraphicFramePr>
          <p:cNvPr id="8" name="Graf 7">
            <a:extLst>
              <a:ext uri="{FF2B5EF4-FFF2-40B4-BE49-F238E27FC236}">
                <a16:creationId xmlns:a16="http://schemas.microsoft.com/office/drawing/2014/main" id="{43448D1D-2E05-45CA-A866-143DDBF5BA0C}"/>
              </a:ext>
            </a:extLst>
          </p:cNvPr>
          <p:cNvGraphicFramePr/>
          <p:nvPr>
            <p:extLst>
              <p:ext uri="{D42A27DB-BD31-4B8C-83A1-F6EECF244321}">
                <p14:modId xmlns:p14="http://schemas.microsoft.com/office/powerpoint/2010/main" val="6069642"/>
              </p:ext>
            </p:extLst>
          </p:nvPr>
        </p:nvGraphicFramePr>
        <p:xfrm>
          <a:off x="163521" y="1222049"/>
          <a:ext cx="8766834" cy="5345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ulka 8">
            <a:extLst>
              <a:ext uri="{FF2B5EF4-FFF2-40B4-BE49-F238E27FC236}">
                <a16:creationId xmlns:a16="http://schemas.microsoft.com/office/drawing/2014/main" id="{7C1367ED-B273-4E58-BBB3-AD1B81F63A12}"/>
              </a:ext>
            </a:extLst>
          </p:cNvPr>
          <p:cNvGraphicFramePr>
            <a:graphicFrameLocks noGrp="1"/>
          </p:cNvGraphicFramePr>
          <p:nvPr>
            <p:extLst>
              <p:ext uri="{D42A27DB-BD31-4B8C-83A1-F6EECF244321}">
                <p14:modId xmlns:p14="http://schemas.microsoft.com/office/powerpoint/2010/main" val="1807087587"/>
              </p:ext>
            </p:extLst>
          </p:nvPr>
        </p:nvGraphicFramePr>
        <p:xfrm>
          <a:off x="9162962" y="1301496"/>
          <a:ext cx="2326326" cy="4971720"/>
        </p:xfrm>
        <a:graphic>
          <a:graphicData uri="http://schemas.openxmlformats.org/drawingml/2006/table">
            <a:tbl>
              <a:tblPr/>
              <a:tblGrid>
                <a:gridCol w="1485693">
                  <a:extLst>
                    <a:ext uri="{9D8B030D-6E8A-4147-A177-3AD203B41FA5}">
                      <a16:colId xmlns:a16="http://schemas.microsoft.com/office/drawing/2014/main" val="413071720"/>
                    </a:ext>
                  </a:extLst>
                </a:gridCol>
                <a:gridCol w="840633">
                  <a:extLst>
                    <a:ext uri="{9D8B030D-6E8A-4147-A177-3AD203B41FA5}">
                      <a16:colId xmlns:a16="http://schemas.microsoft.com/office/drawing/2014/main" val="1696405920"/>
                    </a:ext>
                  </a:extLst>
                </a:gridCol>
              </a:tblGrid>
              <a:tr h="51534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297092">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297092">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297092">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297092">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297092">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297092">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297092">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297092">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297092">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297092">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297092">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297092">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297092">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297092">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297092">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7" name="TextovéPole 8">
            <a:extLst>
              <a:ext uri="{FF2B5EF4-FFF2-40B4-BE49-F238E27FC236}">
                <a16:creationId xmlns:a16="http://schemas.microsoft.com/office/drawing/2014/main" id="{FDEE6DA7-8A32-4466-8C48-3BA05FF3131A}"/>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cxnSp>
        <p:nvCxnSpPr>
          <p:cNvPr id="10" name="Přímá spojnice se šipkou 9">
            <a:extLst>
              <a:ext uri="{FF2B5EF4-FFF2-40B4-BE49-F238E27FC236}">
                <a16:creationId xmlns:a16="http://schemas.microsoft.com/office/drawing/2014/main" id="{F0EB6B16-4204-4D27-A4B8-BB5BFDEA4501}"/>
              </a:ext>
            </a:extLst>
          </p:cNvPr>
          <p:cNvCxnSpPr>
            <a:cxnSpLocks/>
          </p:cNvCxnSpPr>
          <p:nvPr/>
        </p:nvCxnSpPr>
        <p:spPr>
          <a:xfrm>
            <a:off x="5076698" y="1917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Obdélník 11">
            <a:extLst>
              <a:ext uri="{FF2B5EF4-FFF2-40B4-BE49-F238E27FC236}">
                <a16:creationId xmlns:a16="http://schemas.microsoft.com/office/drawing/2014/main" id="{235889AB-E7B0-48AC-B4B1-13DA38451C66}"/>
              </a:ext>
            </a:extLst>
          </p:cNvPr>
          <p:cNvSpPr/>
          <p:nvPr/>
        </p:nvSpPr>
        <p:spPr>
          <a:xfrm>
            <a:off x="4871260" y="15310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187948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719673" cy="576000"/>
          </a:xfrm>
        </p:spPr>
        <p:txBody>
          <a:bodyPr/>
          <a:lstStyle/>
          <a:p>
            <a:r>
              <a:rPr lang="cs-CZ" dirty="0"/>
              <a:t>Přehled přijatých opatření po 1. září a uvolňování od 18.11.</a:t>
            </a:r>
          </a:p>
        </p:txBody>
      </p:sp>
      <p:graphicFrame>
        <p:nvGraphicFramePr>
          <p:cNvPr id="11" name="Tabulka 10">
            <a:extLst>
              <a:ext uri="{FF2B5EF4-FFF2-40B4-BE49-F238E27FC236}">
                <a16:creationId xmlns:a16="http://schemas.microsoft.com/office/drawing/2014/main" id="{90C8B4DF-C12B-4A0E-9941-AAC14710E2F5}"/>
              </a:ext>
            </a:extLst>
          </p:cNvPr>
          <p:cNvGraphicFramePr>
            <a:graphicFrameLocks noGrp="1"/>
          </p:cNvGraphicFramePr>
          <p:nvPr>
            <p:extLst>
              <p:ext uri="{D42A27DB-BD31-4B8C-83A1-F6EECF244321}">
                <p14:modId xmlns:p14="http://schemas.microsoft.com/office/powerpoint/2010/main" val="1848886838"/>
              </p:ext>
            </p:extLst>
          </p:nvPr>
        </p:nvGraphicFramePr>
        <p:xfrm>
          <a:off x="381739" y="606109"/>
          <a:ext cx="11546101" cy="6167753"/>
        </p:xfrm>
        <a:graphic>
          <a:graphicData uri="http://schemas.openxmlformats.org/drawingml/2006/table">
            <a:tbl>
              <a:tblPr firstRow="1" firstCol="1" bandRow="1">
                <a:tableStyleId>{5202B0CA-FC54-4496-8BCA-5EF66A818D29}</a:tableStyleId>
              </a:tblPr>
              <a:tblGrid>
                <a:gridCol w="1703871">
                  <a:extLst>
                    <a:ext uri="{9D8B030D-6E8A-4147-A177-3AD203B41FA5}">
                      <a16:colId xmlns:a16="http://schemas.microsoft.com/office/drawing/2014/main" val="408172171"/>
                    </a:ext>
                  </a:extLst>
                </a:gridCol>
                <a:gridCol w="9842230">
                  <a:extLst>
                    <a:ext uri="{9D8B030D-6E8A-4147-A177-3AD203B41FA5}">
                      <a16:colId xmlns:a16="http://schemas.microsoft.com/office/drawing/2014/main" val="395110933"/>
                    </a:ext>
                  </a:extLst>
                </a:gridCol>
              </a:tblGrid>
              <a:tr h="203556">
                <a:tc>
                  <a:txBody>
                    <a:bodyPr/>
                    <a:lstStyle/>
                    <a:p>
                      <a:pPr algn="l">
                        <a:lnSpc>
                          <a:spcPct val="107000"/>
                        </a:lnSpc>
                        <a:spcAft>
                          <a:spcPts val="0"/>
                        </a:spcAft>
                      </a:pPr>
                      <a:r>
                        <a:rPr lang="cs-CZ" sz="1400" dirty="0">
                          <a:effectLst/>
                        </a:rPr>
                        <a:t>Platnost opatření</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algn="l">
                        <a:lnSpc>
                          <a:spcPct val="107000"/>
                        </a:lnSpc>
                        <a:spcAft>
                          <a:spcPts val="0"/>
                        </a:spcAft>
                      </a:pPr>
                      <a:r>
                        <a:rPr lang="cs-CZ" sz="1400" dirty="0">
                          <a:effectLst/>
                        </a:rPr>
                        <a:t>Specifikace opatření</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extLst>
                  <a:ext uri="{0D108BD9-81ED-4DB2-BD59-A6C34878D82A}">
                    <a16:rowId xmlns:a16="http://schemas.microsoft.com/office/drawing/2014/main" val="788814341"/>
                  </a:ext>
                </a:extLst>
              </a:tr>
              <a:tr h="168170">
                <a:tc>
                  <a:txBody>
                    <a:bodyPr/>
                    <a:lstStyle/>
                    <a:p>
                      <a:pPr algn="l">
                        <a:lnSpc>
                          <a:spcPct val="107000"/>
                        </a:lnSpc>
                        <a:spcAft>
                          <a:spcPts val="0"/>
                        </a:spcAft>
                      </a:pPr>
                      <a:r>
                        <a:rPr lang="cs-CZ" sz="1100" b="0" dirty="0">
                          <a:effectLst/>
                          <a:latin typeface="+mn-lt"/>
                        </a:rPr>
                        <a:t>Od </a:t>
                      </a:r>
                      <a:r>
                        <a:rPr lang="cs-CZ" sz="1100" b="1" dirty="0">
                          <a:effectLst/>
                          <a:latin typeface="+mn-lt"/>
                        </a:rPr>
                        <a:t>1. 9. 2020</a:t>
                      </a:r>
                      <a:endParaRPr lang="cs-CZ" sz="1100" b="1"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algn="l">
                        <a:lnSpc>
                          <a:spcPct val="107000"/>
                        </a:lnSpc>
                        <a:spcAft>
                          <a:spcPts val="0"/>
                        </a:spcAft>
                      </a:pPr>
                      <a:r>
                        <a:rPr lang="cs-CZ" sz="1100" b="0" noProof="0" dirty="0">
                          <a:effectLst/>
                          <a:latin typeface="+mn-lt"/>
                        </a:rPr>
                        <a:t>Povinné krytí dýchacích cest ve vybraných vnitřních prostorech (veřejná doprava, úřady, nemocnice apod.</a:t>
                      </a:r>
                      <a:endParaRPr lang="cs-CZ" sz="1100" b="1"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643458301"/>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10.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Povinné krytí dýchacích cest ve všech vnitřních prostorách (až na výjimky)</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extLst>
                  <a:ext uri="{0D108BD9-81ED-4DB2-BD59-A6C34878D82A}">
                    <a16:rowId xmlns:a16="http://schemas.microsoft.com/office/drawing/2014/main" val="3142461248"/>
                  </a:ext>
                </a:extLst>
              </a:tr>
              <a:tr h="32114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18.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Vnitřní akce nad 10 osob pouze do kapacity míst k sezení, povinné krytí dýchacích cest ve školách, omezení provozní doby podniků se stravováním</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2002777106"/>
                  </a:ext>
                </a:extLst>
              </a:tr>
              <a:tr h="17186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24.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B>
                      <a:noFill/>
                    </a:lnB>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Další omezení provozní doby podniků se stravováním, omezení počtu osob v sektorových akcích </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B>
                      <a:noFill/>
                    </a:lnB>
                    <a:solidFill>
                      <a:srgbClr val="CBCBCB"/>
                    </a:solidFill>
                  </a:tcPr>
                </a:tc>
                <a:extLst>
                  <a:ext uri="{0D108BD9-81ED-4DB2-BD59-A6C34878D82A}">
                    <a16:rowId xmlns:a16="http://schemas.microsoft.com/office/drawing/2014/main" val="911908655"/>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5. 10.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T>
                      <a:noFill/>
                    </a:lnT>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Vyhlášení nouzového stavu, Zákaz představení se zpěvem, hromadné akce pouze do 10 osob uvnitř a 20 vně, omezení provozu středních a vysokých škol (v rizikovějších krajích)</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T>
                      <a:noFill/>
                    </a:lnT>
                    <a:solidFill>
                      <a:srgbClr val="CBCBCB"/>
                    </a:solidFill>
                  </a:tcPr>
                </a:tc>
                <a:extLst>
                  <a:ext uri="{0D108BD9-81ED-4DB2-BD59-A6C34878D82A}">
                    <a16:rowId xmlns:a16="http://schemas.microsoft.com/office/drawing/2014/main" val="47540772"/>
                  </a:ext>
                </a:extLst>
              </a:tr>
              <a:tr h="17186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dirty="0">
                          <a:ln>
                            <a:noFill/>
                          </a:ln>
                          <a:solidFill>
                            <a:prstClr val="black"/>
                          </a:solidFill>
                          <a:effectLst/>
                          <a:uLnTx/>
                          <a:uFillTx/>
                          <a:latin typeface="+mn-lt"/>
                          <a:ea typeface="+mn-ea"/>
                          <a:cs typeface="+mn-cs"/>
                        </a:rPr>
                        <a:t>Od</a:t>
                      </a:r>
                      <a:r>
                        <a:rPr kumimoji="0" lang="cs-CZ" sz="1100" b="1" i="0" u="none" strike="noStrike" kern="1200" cap="none" spc="0" normalizeH="0" baseline="0" dirty="0">
                          <a:ln>
                            <a:noFill/>
                          </a:ln>
                          <a:solidFill>
                            <a:prstClr val="black"/>
                          </a:solidFill>
                          <a:effectLst/>
                          <a:uLnTx/>
                          <a:uFillTx/>
                          <a:latin typeface="+mn-lt"/>
                          <a:ea typeface="+mn-ea"/>
                          <a:cs typeface="+mn-cs"/>
                        </a:rPr>
                        <a:t> </a:t>
                      </a:r>
                      <a:r>
                        <a:rPr kumimoji="0" lang="cs-CZ" sz="1100" b="1" i="0" u="none" strike="noStrike" kern="1200" cap="none" spc="0" normalizeH="0" baseline="0" noProof="0" dirty="0">
                          <a:ln>
                            <a:noFill/>
                          </a:ln>
                          <a:solidFill>
                            <a:prstClr val="black"/>
                          </a:solidFill>
                          <a:effectLst/>
                          <a:uLnTx/>
                          <a:uFillTx/>
                          <a:latin typeface="+mn-lt"/>
                          <a:ea typeface="+mn-ea"/>
                          <a:cs typeface="+mn-cs"/>
                        </a:rPr>
                        <a:t>9. 10.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Uzavřena sportoviště, koupaliště, herny, </a:t>
                      </a:r>
                      <a:r>
                        <a:rPr lang="cs-CZ" sz="1100" b="0" kern="1200" noProof="0" dirty="0" err="1">
                          <a:solidFill>
                            <a:schemeClr val="dk1"/>
                          </a:solidFill>
                          <a:effectLst/>
                          <a:latin typeface="+mn-lt"/>
                          <a:ea typeface="+mn-ea"/>
                          <a:cs typeface="+mn-cs"/>
                        </a:rPr>
                        <a:t>kasína</a:t>
                      </a:r>
                      <a:r>
                        <a:rPr lang="cs-CZ" sz="1100" b="0" kern="1200" noProof="0" dirty="0">
                          <a:solidFill>
                            <a:schemeClr val="dk1"/>
                          </a:solidFill>
                          <a:effectLst/>
                          <a:latin typeface="+mn-lt"/>
                          <a:ea typeface="+mn-ea"/>
                          <a:cs typeface="+mn-cs"/>
                        </a:rPr>
                        <a:t>, zájmové kroužky, stravovací provozy musí zavřít ve 20.00</a:t>
                      </a:r>
                      <a:endParaRPr kumimoji="0" lang="cs-CZ" sz="1100" b="1" i="0" u="none" strike="noStrike" kern="1200" cap="none" spc="0" normalizeH="0" baseline="0" noProof="0" dirty="0">
                        <a:ln>
                          <a:noFill/>
                        </a:ln>
                        <a:solidFill>
                          <a:prstClr val="black"/>
                        </a:solidFill>
                        <a:effectLst/>
                        <a:uLnTx/>
                        <a:uFillTx/>
                        <a:latin typeface="+mn-lt"/>
                        <a:ea typeface="+mn-ea"/>
                        <a:cs typeface="+mn-cs"/>
                      </a:endParaRPr>
                    </a:p>
                  </a:txBody>
                  <a:tcPr marL="68580" marR="68580" marT="0" marB="0" anchor="ctr">
                    <a:solidFill>
                      <a:srgbClr val="CBCBCB"/>
                    </a:solidFill>
                  </a:tcPr>
                </a:tc>
                <a:extLst>
                  <a:ext uri="{0D108BD9-81ED-4DB2-BD59-A6C34878D82A}">
                    <a16:rowId xmlns:a16="http://schemas.microsoft.com/office/drawing/2014/main" val="3123338298"/>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solidFill>
                            <a:srgbClr val="C00000"/>
                          </a:solidFill>
                          <a:effectLst/>
                          <a:latin typeface="+mn-lt"/>
                        </a:rPr>
                        <a:t>Od </a:t>
                      </a:r>
                      <a:r>
                        <a:rPr lang="cs-CZ" sz="1100" b="1" dirty="0">
                          <a:solidFill>
                            <a:srgbClr val="C00000"/>
                          </a:solidFill>
                          <a:effectLst/>
                          <a:latin typeface="+mn-lt"/>
                        </a:rPr>
                        <a:t>12</a:t>
                      </a:r>
                      <a:r>
                        <a:rPr kumimoji="0" lang="cs-CZ" sz="1100" b="1" i="0" u="none" strike="noStrike" kern="1200" cap="none" spc="0" normalizeH="0" baseline="0" noProof="0" dirty="0">
                          <a:ln>
                            <a:noFill/>
                          </a:ln>
                          <a:solidFill>
                            <a:srgbClr val="C00000"/>
                          </a:solidFill>
                          <a:effectLst/>
                          <a:uLnTx/>
                          <a:uFillTx/>
                          <a:latin typeface="+mn-lt"/>
                          <a:ea typeface="+mn-ea"/>
                          <a:cs typeface="+mn-cs"/>
                        </a:rPr>
                        <a:t>. 10. 2020</a:t>
                      </a:r>
                      <a:endPar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rgbClr val="C00000"/>
                          </a:solidFill>
                          <a:effectLst/>
                          <a:latin typeface="+mn-lt"/>
                          <a:ea typeface="+mn-ea"/>
                          <a:cs typeface="+mn-cs"/>
                        </a:rPr>
                        <a:t>Omezení funkce středních a vysokých škol v celé ČR</a:t>
                      </a:r>
                      <a:r>
                        <a:rPr lang="cs-CZ" sz="1100" b="0" kern="1200" noProof="0" dirty="0">
                          <a:solidFill>
                            <a:schemeClr val="dk1"/>
                          </a:solidFill>
                          <a:effectLst/>
                          <a:latin typeface="+mn-lt"/>
                          <a:ea typeface="+mn-ea"/>
                          <a:cs typeface="+mn-cs"/>
                        </a:rPr>
                        <a:t>, zákaz návštěv v nemocnicích, omezení činnosti úřadů, zrušení kulturních akcí nad 10 osob uvnitř a 20 vně</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2892643224"/>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4. 10.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Shromáždění max. 6 osob, uzavření stravovacích provozů (mimo výdejní okénka), zákaz konzumace alkoholu na veřejnosti, </a:t>
                      </a:r>
                      <a:r>
                        <a:rPr lang="cs-CZ" sz="1100" b="1" kern="1200" noProof="0" dirty="0">
                          <a:solidFill>
                            <a:srgbClr val="C00000"/>
                          </a:solidFill>
                          <a:effectLst/>
                          <a:latin typeface="+mn-lt"/>
                          <a:ea typeface="+mn-ea"/>
                          <a:cs typeface="+mn-cs"/>
                        </a:rPr>
                        <a:t>uzavření všech škol (mimo mateřských)</a:t>
                      </a:r>
                      <a:r>
                        <a:rPr lang="cs-CZ" sz="1100" b="0" kern="1200" noProof="0" dirty="0">
                          <a:solidFill>
                            <a:schemeClr val="dk1"/>
                          </a:solidFill>
                          <a:effectLst/>
                          <a:latin typeface="+mn-lt"/>
                          <a:ea typeface="+mn-ea"/>
                          <a:cs typeface="+mn-cs"/>
                        </a:rPr>
                        <a:t>, krytí dýchacích cest povinně na zastávkách MHD</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880630417"/>
                  </a:ext>
                </a:extLst>
              </a:tr>
              <a:tr h="32114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2. 10.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Zákaz volného pohybu osob (s nutnými výjimkami), zákaz maloobchodního prodeje a poskytování služeb v provozovnách (s výjimkami), hotelů (pro turistiku)</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extLst>
                  <a:ext uri="{0D108BD9-81ED-4DB2-BD59-A6C34878D82A}">
                    <a16:rowId xmlns:a16="http://schemas.microsoft.com/office/drawing/2014/main" val="492691514"/>
                  </a:ext>
                </a:extLst>
              </a:tr>
              <a:tr h="1791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8. 10.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Zákaz vycházení v nočních hodinách, až na výjimky zákaz nedělního prodeje, uzavírání obchodů ve 20 hodin.</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882016559"/>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8.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1. a 2. tříd do škol, otevření speciálních škol a přípravných tříd</a:t>
                      </a:r>
                    </a:p>
                  </a:txBody>
                  <a:tcPr marL="68580" marR="68580" marT="0" marB="0" anchor="ctr">
                    <a:solidFill>
                      <a:srgbClr val="CBCBCB"/>
                    </a:solidFill>
                  </a:tcPr>
                </a:tc>
                <a:extLst>
                  <a:ext uri="{0D108BD9-81ED-4DB2-BD59-A6C34878D82A}">
                    <a16:rowId xmlns:a16="http://schemas.microsoft.com/office/drawing/2014/main" val="3022860797"/>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3. 11. 2020</a:t>
                      </a:r>
                      <a:endPar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Zákaz vycházení 23-5, Shlukování max. 6 osob, Svatby, pohřby a bohoslužby až 20 osob</a:t>
                      </a:r>
                    </a:p>
                  </a:txBody>
                  <a:tcPr marL="68580" marR="68580" marT="0" marB="0" anchor="ctr">
                    <a:solidFill>
                      <a:srgbClr val="E7E7E7"/>
                    </a:solidFill>
                  </a:tcPr>
                </a:tc>
                <a:extLst>
                  <a:ext uri="{0D108BD9-81ED-4DB2-BD59-A6C34878D82A}">
                    <a16:rowId xmlns:a16="http://schemas.microsoft.com/office/drawing/2014/main" val="3008280520"/>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25.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studentů posledního ročníku SŠ a VOŠ, vybrané praktické výuky pro VŠ, SŠ, VOŠ</a:t>
                      </a:r>
                    </a:p>
                  </a:txBody>
                  <a:tcPr marL="68580" marR="68580" marT="0" marB="0" anchor="ctr">
                    <a:solidFill>
                      <a:srgbClr val="E7E7E7"/>
                    </a:solidFill>
                  </a:tcPr>
                </a:tc>
                <a:extLst>
                  <a:ext uri="{0D108BD9-81ED-4DB2-BD59-A6C34878D82A}">
                    <a16:rowId xmlns:a16="http://schemas.microsoft.com/office/drawing/2014/main" val="327486966"/>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30.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zbytku ZŠ, 6. – 8. třídy v rotačním režimu</a:t>
                      </a:r>
                    </a:p>
                  </a:txBody>
                  <a:tcPr marL="68580" marR="68580" marT="0" marB="0" anchor="ctr">
                    <a:solidFill>
                      <a:srgbClr val="CBCBCB"/>
                    </a:solidFill>
                  </a:tcPr>
                </a:tc>
                <a:extLst>
                  <a:ext uri="{0D108BD9-81ED-4DB2-BD59-A6C34878D82A}">
                    <a16:rowId xmlns:a16="http://schemas.microsoft.com/office/drawing/2014/main" val="717924707"/>
                  </a:ext>
                </a:extLst>
              </a:tr>
              <a:tr h="33077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3.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Shlukování max. 50 osob venku, 10 uvnitř, Svatby, pohřby, apod. pro až 30 osob, Zrušení nočního zákazu vycházení, zákazu konzumace alkoholu na veřejnosti, Hotely bez omezení, Omezeně otevření sportovišť, stravovacích zařízení, galerií, služeb, maloobchodu, NC</a:t>
                      </a:r>
                    </a:p>
                  </a:txBody>
                  <a:tcPr marL="68580" marR="68580" marT="0" marB="0" anchor="ctr">
                    <a:solidFill>
                      <a:srgbClr val="E7E7E7"/>
                    </a:solidFill>
                  </a:tcPr>
                </a:tc>
                <a:extLst>
                  <a:ext uri="{0D108BD9-81ED-4DB2-BD59-A6C34878D82A}">
                    <a16:rowId xmlns:a16="http://schemas.microsoft.com/office/drawing/2014/main" val="2758981011"/>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5.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Povolení návštěv v domovech pro seniory, ale pouze po negativním PCR či antigenním testu</a:t>
                      </a:r>
                    </a:p>
                  </a:txBody>
                  <a:tcPr marL="68580" marR="68580" marT="0" marB="0" anchor="ctr">
                    <a:solidFill>
                      <a:srgbClr val="CBCBCB"/>
                    </a:solidFill>
                  </a:tcPr>
                </a:tc>
                <a:extLst>
                  <a:ext uri="{0D108BD9-81ED-4DB2-BD59-A6C34878D82A}">
                    <a16:rowId xmlns:a16="http://schemas.microsoft.com/office/drawing/2014/main" val="3254398130"/>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 7.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zbytku ročníků středních škol v rotačním režimu</a:t>
                      </a:r>
                    </a:p>
                  </a:txBody>
                  <a:tcPr marL="68580" marR="68580" marT="0" marB="0" anchor="ctr">
                    <a:solidFill>
                      <a:srgbClr val="E7E7E7"/>
                    </a:solidFill>
                  </a:tcPr>
                </a:tc>
                <a:extLst>
                  <a:ext uri="{0D108BD9-81ED-4DB2-BD59-A6C34878D82A}">
                    <a16:rowId xmlns:a16="http://schemas.microsoft.com/office/drawing/2014/main" val="2908973972"/>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9.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mezení otevírací doby stravovacích zařízení na 20.00, zákaz pití alkoholu na veřejnosti</a:t>
                      </a:r>
                    </a:p>
                  </a:txBody>
                  <a:tcPr marL="68580" marR="68580" marT="0" marB="0" anchor="ctr">
                    <a:solidFill>
                      <a:srgbClr val="CBCBCB"/>
                    </a:solidFill>
                  </a:tcPr>
                </a:tc>
                <a:extLst>
                  <a:ext uri="{0D108BD9-81ED-4DB2-BD59-A6C34878D82A}">
                    <a16:rowId xmlns:a16="http://schemas.microsoft.com/office/drawing/2014/main" val="320085910"/>
                  </a:ext>
                </a:extLst>
              </a:tr>
              <a:tr h="49309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18.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Uzavření stravovacích provozoven (až na okénko), heren, kasin apod., vnitřních sportovišť, ZOO, muzeí apod., ubytovacích zařízení (až na výjimky), omezení volného pohybu osob (až na výjimky), zákaz nočního vycházení (až na výjimky), shluk max. 6 osob</a:t>
                      </a:r>
                      <a:b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b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Uzavření škol (prodloužení vánočních prázdnin) od 21.12. do 23.12.</a:t>
                      </a:r>
                    </a:p>
                  </a:txBody>
                  <a:tcPr marL="68580" marR="68580" marT="0" marB="0" anchor="ctr">
                    <a:solidFill>
                      <a:srgbClr val="E7E7E7"/>
                    </a:solidFill>
                  </a:tcPr>
                </a:tc>
                <a:extLst>
                  <a:ext uri="{0D108BD9-81ED-4DB2-BD59-A6C34878D82A}">
                    <a16:rowId xmlns:a16="http://schemas.microsoft.com/office/drawing/2014/main" val="987677567"/>
                  </a:ext>
                </a:extLst>
              </a:tr>
              <a:tr h="33077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27.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Uzavření prodejen a služeb (až na vymezené základní druhy), zákaz lyžařských vleků a lanových drah, prodloužení zákazu vycházení, omezení shromažďování na 2 osoby,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po skončení vánočních prázdnin provoz pouze mateřských škol a 1. a 2. ročníků základních škol</a:t>
                      </a:r>
                    </a:p>
                  </a:txBody>
                  <a:tcPr marL="68580" marR="68580" marT="0" marB="0" anchor="ctr">
                    <a:solidFill>
                      <a:srgbClr val="CBCBCB"/>
                    </a:solidFill>
                  </a:tcPr>
                </a:tc>
                <a:extLst>
                  <a:ext uri="{0D108BD9-81ED-4DB2-BD59-A6C34878D82A}">
                    <a16:rowId xmlns:a16="http://schemas.microsoft.com/office/drawing/2014/main" val="3863224239"/>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23. 1.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Povolení provozu jeslí (provozovny péče o děti do 3 let věku)</a:t>
                      </a:r>
                    </a:p>
                  </a:txBody>
                  <a:tcPr marL="68400" marR="68400" anchor="ctr">
                    <a:solidFill>
                      <a:srgbClr val="E7E7E7"/>
                    </a:solidFill>
                  </a:tcPr>
                </a:tc>
                <a:extLst>
                  <a:ext uri="{0D108BD9-81ED-4DB2-BD59-A6C34878D82A}">
                    <a16:rowId xmlns:a16="http://schemas.microsoft.com/office/drawing/2014/main" val="1752103994"/>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 3.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chemeClr val="bg1">
                        <a:lumMod val="8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1. 3. přerušení veškeré prezenční výuky</a:t>
                      </a:r>
                    </a:p>
                  </a:txBody>
                  <a:tcPr marL="68400" marR="68400" anchor="ctr">
                    <a:solidFill>
                      <a:schemeClr val="bg1">
                        <a:lumMod val="85000"/>
                      </a:schemeClr>
                    </a:solidFill>
                  </a:tcPr>
                </a:tc>
                <a:extLst>
                  <a:ext uri="{0D108BD9-81ED-4DB2-BD59-A6C34878D82A}">
                    <a16:rowId xmlns:a16="http://schemas.microsoft.com/office/drawing/2014/main" val="484912196"/>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2. 4.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bnovení prezenční výuky v nižších ročnících ZŠ, rotační režimy </a:t>
                      </a:r>
                    </a:p>
                  </a:txBody>
                  <a:tcPr marL="68400" marR="68400" anchor="ctr">
                    <a:solidFill>
                      <a:srgbClr val="E7E7E7"/>
                    </a:solidFill>
                  </a:tcPr>
                </a:tc>
                <a:extLst>
                  <a:ext uri="{0D108BD9-81ED-4DB2-BD59-A6C34878D82A}">
                    <a16:rowId xmlns:a16="http://schemas.microsoft.com/office/drawing/2014/main" val="560896789"/>
                  </a:ext>
                </a:extLst>
              </a:tr>
            </a:tbl>
          </a:graphicData>
        </a:graphic>
      </p:graphicFrame>
    </p:spTree>
    <p:extLst>
      <p:ext uri="{BB962C8B-B14F-4D97-AF65-F5344CB8AC3E}">
        <p14:creationId xmlns:p14="http://schemas.microsoft.com/office/powerpoint/2010/main" val="19317933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ovéPole 8">
            <a:extLst>
              <a:ext uri="{FF2B5EF4-FFF2-40B4-BE49-F238E27FC236}">
                <a16:creationId xmlns:a16="http://schemas.microsoft.com/office/drawing/2014/main" id="{647DDAC2-3C77-4F03-9BD2-24C7C1216857}"/>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81992" y="2"/>
            <a:ext cx="7864952" cy="576000"/>
          </a:xfrm>
        </p:spPr>
        <p:txBody>
          <a:bodyPr/>
          <a:lstStyle/>
          <a:p>
            <a:r>
              <a:rPr lang="cs-CZ" dirty="0"/>
              <a:t>COVID-19 pozitivní pedagogové a další pracovníci ve školství</a:t>
            </a:r>
          </a:p>
        </p:txBody>
      </p:sp>
      <p:graphicFrame>
        <p:nvGraphicFramePr>
          <p:cNvPr id="7" name="Chart 31">
            <a:extLst>
              <a:ext uri="{FF2B5EF4-FFF2-40B4-BE49-F238E27FC236}">
                <a16:creationId xmlns:a16="http://schemas.microsoft.com/office/drawing/2014/main" id="{1A0DC1DF-8CED-49FC-A4A5-065F1A64BD52}"/>
              </a:ext>
            </a:extLst>
          </p:cNvPr>
          <p:cNvGraphicFramePr/>
          <p:nvPr>
            <p:extLst>
              <p:ext uri="{D42A27DB-BD31-4B8C-83A1-F6EECF244321}">
                <p14:modId xmlns:p14="http://schemas.microsoft.com/office/powerpoint/2010/main" val="4201214489"/>
              </p:ext>
            </p:extLst>
          </p:nvPr>
        </p:nvGraphicFramePr>
        <p:xfrm>
          <a:off x="506227" y="1010971"/>
          <a:ext cx="8332973" cy="561223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2">
            <a:extLst>
              <a:ext uri="{FF2B5EF4-FFF2-40B4-BE49-F238E27FC236}">
                <a16:creationId xmlns:a16="http://schemas.microsoft.com/office/drawing/2014/main" id="{FDDA473E-2198-4E37-8DAB-7936176EB801}"/>
              </a:ext>
            </a:extLst>
          </p:cNvPr>
          <p:cNvSpPr txBox="1"/>
          <p:nvPr/>
        </p:nvSpPr>
        <p:spPr>
          <a:xfrm rot="16200000">
            <a:off x="-941446" y="3242780"/>
            <a:ext cx="2587568" cy="307777"/>
          </a:xfrm>
          <a:prstGeom prst="rect">
            <a:avLst/>
          </a:prstGeom>
          <a:noFill/>
        </p:spPr>
        <p:txBody>
          <a:bodyPr wrap="none" rtlCol="0">
            <a:spAutoFit/>
          </a:bodyPr>
          <a:lstStyle/>
          <a:p>
            <a:r>
              <a:rPr lang="cs-CZ" sz="1400" b="1" dirty="0"/>
              <a:t>Denní počet nových případů</a:t>
            </a:r>
          </a:p>
        </p:txBody>
      </p:sp>
      <p:cxnSp>
        <p:nvCxnSpPr>
          <p:cNvPr id="12" name="Straight Connector 4">
            <a:extLst>
              <a:ext uri="{FF2B5EF4-FFF2-40B4-BE49-F238E27FC236}">
                <a16:creationId xmlns:a16="http://schemas.microsoft.com/office/drawing/2014/main" id="{61A60986-249F-4FD7-AAA7-8BD13B1D7992}"/>
              </a:ext>
            </a:extLst>
          </p:cNvPr>
          <p:cNvCxnSpPr/>
          <p:nvPr/>
        </p:nvCxnSpPr>
        <p:spPr>
          <a:xfrm>
            <a:off x="6112425" y="1359733"/>
            <a:ext cx="360000" cy="0"/>
          </a:xfrm>
          <a:prstGeom prst="line">
            <a:avLst/>
          </a:prstGeom>
          <a:ln w="19050">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13" name="TextBox 5">
            <a:extLst>
              <a:ext uri="{FF2B5EF4-FFF2-40B4-BE49-F238E27FC236}">
                <a16:creationId xmlns:a16="http://schemas.microsoft.com/office/drawing/2014/main" id="{6D3E0B94-D581-4819-B5C9-9EB381E068C1}"/>
              </a:ext>
            </a:extLst>
          </p:cNvPr>
          <p:cNvSpPr txBox="1"/>
          <p:nvPr/>
        </p:nvSpPr>
        <p:spPr>
          <a:xfrm>
            <a:off x="6443353" y="1199695"/>
            <a:ext cx="2282997" cy="307777"/>
          </a:xfrm>
          <a:prstGeom prst="rect">
            <a:avLst/>
          </a:prstGeom>
          <a:noFill/>
        </p:spPr>
        <p:txBody>
          <a:bodyPr wrap="none" rtlCol="0">
            <a:spAutoFit/>
          </a:bodyPr>
          <a:lstStyle/>
          <a:p>
            <a:r>
              <a:rPr lang="cs-CZ" sz="1400" b="1" dirty="0"/>
              <a:t>7 denní klouzavý průměr</a:t>
            </a:r>
          </a:p>
        </p:txBody>
      </p:sp>
      <p:graphicFrame>
        <p:nvGraphicFramePr>
          <p:cNvPr id="8" name="Tabulka 7">
            <a:extLst>
              <a:ext uri="{FF2B5EF4-FFF2-40B4-BE49-F238E27FC236}">
                <a16:creationId xmlns:a16="http://schemas.microsoft.com/office/drawing/2014/main" id="{10B700C9-AB6F-43A8-943E-F86E2165D755}"/>
              </a:ext>
            </a:extLst>
          </p:cNvPr>
          <p:cNvGraphicFramePr>
            <a:graphicFrameLocks noGrp="1"/>
          </p:cNvGraphicFramePr>
          <p:nvPr>
            <p:extLst>
              <p:ext uri="{D42A27DB-BD31-4B8C-83A1-F6EECF244321}">
                <p14:modId xmlns:p14="http://schemas.microsoft.com/office/powerpoint/2010/main" val="1003471907"/>
              </p:ext>
            </p:extLst>
          </p:nvPr>
        </p:nvGraphicFramePr>
        <p:xfrm>
          <a:off x="9180945" y="1157569"/>
          <a:ext cx="2812606" cy="5079996"/>
        </p:xfrm>
        <a:graphic>
          <a:graphicData uri="http://schemas.openxmlformats.org/drawingml/2006/table">
            <a:tbl>
              <a:tblPr/>
              <a:tblGrid>
                <a:gridCol w="1675440">
                  <a:extLst>
                    <a:ext uri="{9D8B030D-6E8A-4147-A177-3AD203B41FA5}">
                      <a16:colId xmlns:a16="http://schemas.microsoft.com/office/drawing/2014/main" val="413071720"/>
                    </a:ext>
                  </a:extLst>
                </a:gridCol>
                <a:gridCol w="1137166">
                  <a:extLst>
                    <a:ext uri="{9D8B030D-6E8A-4147-A177-3AD203B41FA5}">
                      <a16:colId xmlns:a16="http://schemas.microsoft.com/office/drawing/2014/main" val="1696405920"/>
                    </a:ext>
                  </a:extLst>
                </a:gridCol>
              </a:tblGrid>
              <a:tr h="55712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Denní průměr </a:t>
                      </a:r>
                    </a:p>
                    <a:p>
                      <a:pPr algn="ctr" fontAlgn="ctr"/>
                      <a:r>
                        <a:rPr lang="cs-CZ" sz="1200" b="1" i="0" u="none" strike="noStrike" dirty="0">
                          <a:solidFill>
                            <a:schemeClr val="tx1"/>
                          </a:solidFill>
                          <a:effectLst/>
                          <a:latin typeface="Calibri" panose="020F0502020204030204" pitchFamily="34" charset="0"/>
                        </a:rPr>
                        <a:t>za 31.5.–4.6.</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301525">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301525">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301525">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301525">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301525">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301525">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301525">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301525">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301525">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301525">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301525">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301525">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301525">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301525">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301525">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9" name="Obdélník 4">
            <a:extLst>
              <a:ext uri="{FF2B5EF4-FFF2-40B4-BE49-F238E27FC236}">
                <a16:creationId xmlns:a16="http://schemas.microsoft.com/office/drawing/2014/main" id="{BB0A6EDE-757B-4DE1-A81A-313345F9B0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nových potvrzených případů (incidence), </a:t>
            </a:r>
            <a:r>
              <a:rPr lang="cs-CZ" sz="2000" b="1" dirty="0">
                <a:solidFill>
                  <a:srgbClr val="C00000"/>
                </a:solidFill>
                <a:latin typeface="Calibri" panose="020F0502020204030204" pitchFamily="34" charset="0"/>
              </a:rPr>
              <a:t>stav k 4. 6.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1" name="Přímá spojnice se šipkou 10">
            <a:extLst>
              <a:ext uri="{FF2B5EF4-FFF2-40B4-BE49-F238E27FC236}">
                <a16:creationId xmlns:a16="http://schemas.microsoft.com/office/drawing/2014/main" id="{07631578-4AE3-4DB1-A29A-EF5EA70F9592}"/>
              </a:ext>
            </a:extLst>
          </p:cNvPr>
          <p:cNvCxnSpPr>
            <a:cxnSpLocks/>
          </p:cNvCxnSpPr>
          <p:nvPr/>
        </p:nvCxnSpPr>
        <p:spPr>
          <a:xfrm>
            <a:off x="6032374" y="2009132"/>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650BA97D-9595-4582-8CFE-0410DF2619F0}"/>
              </a:ext>
            </a:extLst>
          </p:cNvPr>
          <p:cNvSpPr/>
          <p:nvPr/>
        </p:nvSpPr>
        <p:spPr>
          <a:xfrm>
            <a:off x="5816833" y="1701355"/>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22188876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8055AABF-E39C-4149-86F0-B0A964D33F50}"/>
              </a:ext>
            </a:extLst>
          </p:cNvPr>
          <p:cNvGraphicFramePr>
            <a:graphicFrameLocks noGrp="1"/>
          </p:cNvGraphicFramePr>
          <p:nvPr>
            <p:extLst>
              <p:ext uri="{D42A27DB-BD31-4B8C-83A1-F6EECF244321}">
                <p14:modId xmlns:p14="http://schemas.microsoft.com/office/powerpoint/2010/main" val="3547850424"/>
              </p:ext>
            </p:extLst>
          </p:nvPr>
        </p:nvGraphicFramePr>
        <p:xfrm>
          <a:off x="2730498" y="2009774"/>
          <a:ext cx="4527548" cy="4305300"/>
        </p:xfrm>
        <a:graphic>
          <a:graphicData uri="http://schemas.openxmlformats.org/drawingml/2006/table">
            <a:tbl>
              <a:tblPr/>
              <a:tblGrid>
                <a:gridCol w="1131887">
                  <a:extLst>
                    <a:ext uri="{9D8B030D-6E8A-4147-A177-3AD203B41FA5}">
                      <a16:colId xmlns:a16="http://schemas.microsoft.com/office/drawing/2014/main" val="1500096443"/>
                    </a:ext>
                  </a:extLst>
                </a:gridCol>
                <a:gridCol w="1131887">
                  <a:extLst>
                    <a:ext uri="{9D8B030D-6E8A-4147-A177-3AD203B41FA5}">
                      <a16:colId xmlns:a16="http://schemas.microsoft.com/office/drawing/2014/main" val="3320769064"/>
                    </a:ext>
                  </a:extLst>
                </a:gridCol>
                <a:gridCol w="1131887">
                  <a:extLst>
                    <a:ext uri="{9D8B030D-6E8A-4147-A177-3AD203B41FA5}">
                      <a16:colId xmlns:a16="http://schemas.microsoft.com/office/drawing/2014/main" val="506974574"/>
                    </a:ext>
                  </a:extLst>
                </a:gridCol>
                <a:gridCol w="1131887">
                  <a:extLst>
                    <a:ext uri="{9D8B030D-6E8A-4147-A177-3AD203B41FA5}">
                      <a16:colId xmlns:a16="http://schemas.microsoft.com/office/drawing/2014/main" val="3074947194"/>
                    </a:ext>
                  </a:extLst>
                </a:gridCol>
              </a:tblGrid>
              <a:tr h="287020">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0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3C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484239477"/>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2D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713121175"/>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29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D9D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3429511173"/>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A9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BC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3646077011"/>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A6A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5C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665808513"/>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39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1D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136547660"/>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29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3D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657319938"/>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B9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5D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832748106"/>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D9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0D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564771019"/>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29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6D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02940625"/>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48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DD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825695561"/>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89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5D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470620772"/>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A1A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9C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3979642121"/>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D9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2D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325466745"/>
                  </a:ext>
                </a:extLst>
              </a:tr>
              <a:tr h="28702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E9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FD2"/>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039475157"/>
                  </a:ext>
                </a:extLst>
              </a:tr>
            </a:tbl>
          </a:graphicData>
        </a:graphic>
      </p:graphicFrame>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57785" y="0"/>
            <a:ext cx="7434501" cy="576000"/>
          </a:xfrm>
        </p:spPr>
        <p:txBody>
          <a:bodyPr/>
          <a:lstStyle/>
          <a:p>
            <a:r>
              <a:rPr lang="cs-CZ" dirty="0"/>
              <a:t>Vakcinace </a:t>
            </a:r>
            <a:r>
              <a:rPr lang="cs-CZ" dirty="0" smtClean="0"/>
              <a:t>pracovníků ve </a:t>
            </a:r>
            <a:r>
              <a:rPr lang="cs-CZ" dirty="0"/>
              <a:t>školství</a:t>
            </a:r>
          </a:p>
        </p:txBody>
      </p:sp>
      <p:graphicFrame>
        <p:nvGraphicFramePr>
          <p:cNvPr id="3" name="Table 2">
            <a:extLst>
              <a:ext uri="{FF2B5EF4-FFF2-40B4-BE49-F238E27FC236}">
                <a16:creationId xmlns:a16="http://schemas.microsoft.com/office/drawing/2014/main" id="{1B702ECB-2E9A-4E7A-904D-5B5431DFD06D}"/>
              </a:ext>
            </a:extLst>
          </p:cNvPr>
          <p:cNvGraphicFramePr>
            <a:graphicFrameLocks noGrp="1"/>
          </p:cNvGraphicFramePr>
          <p:nvPr>
            <p:extLst>
              <p:ext uri="{D42A27DB-BD31-4B8C-83A1-F6EECF244321}">
                <p14:modId xmlns:p14="http://schemas.microsoft.com/office/powerpoint/2010/main" val="2902969135"/>
              </p:ext>
            </p:extLst>
          </p:nvPr>
        </p:nvGraphicFramePr>
        <p:xfrm>
          <a:off x="327678" y="1260852"/>
          <a:ext cx="6930370" cy="5054224"/>
        </p:xfrm>
        <a:graphic>
          <a:graphicData uri="http://schemas.openxmlformats.org/drawingml/2006/table">
            <a:tbl>
              <a:tblPr firstRow="1" lastRow="1" bandRow="1">
                <a:tableStyleId>{74C1A8A3-306A-4EB7-A6B1-4F7E0EB9C5D6}</a:tableStyleId>
              </a:tblPr>
              <a:tblGrid>
                <a:gridCol w="1638429">
                  <a:extLst>
                    <a:ext uri="{9D8B030D-6E8A-4147-A177-3AD203B41FA5}">
                      <a16:colId xmlns:a16="http://schemas.microsoft.com/office/drawing/2014/main" val="2523158226"/>
                    </a:ext>
                  </a:extLst>
                </a:gridCol>
                <a:gridCol w="766081">
                  <a:extLst>
                    <a:ext uri="{9D8B030D-6E8A-4147-A177-3AD203B41FA5}">
                      <a16:colId xmlns:a16="http://schemas.microsoft.com/office/drawing/2014/main" val="3128786877"/>
                    </a:ext>
                  </a:extLst>
                </a:gridCol>
                <a:gridCol w="1131465">
                  <a:extLst>
                    <a:ext uri="{9D8B030D-6E8A-4147-A177-3AD203B41FA5}">
                      <a16:colId xmlns:a16="http://schemas.microsoft.com/office/drawing/2014/main" val="3315404817"/>
                    </a:ext>
                  </a:extLst>
                </a:gridCol>
                <a:gridCol w="1131465">
                  <a:extLst>
                    <a:ext uri="{9D8B030D-6E8A-4147-A177-3AD203B41FA5}">
                      <a16:colId xmlns:a16="http://schemas.microsoft.com/office/drawing/2014/main" val="445358752"/>
                    </a:ext>
                  </a:extLst>
                </a:gridCol>
                <a:gridCol w="1131465">
                  <a:extLst>
                    <a:ext uri="{9D8B030D-6E8A-4147-A177-3AD203B41FA5}">
                      <a16:colId xmlns:a16="http://schemas.microsoft.com/office/drawing/2014/main" val="62547014"/>
                    </a:ext>
                  </a:extLst>
                </a:gridCol>
                <a:gridCol w="1131465">
                  <a:extLst>
                    <a:ext uri="{9D8B030D-6E8A-4147-A177-3AD203B41FA5}">
                      <a16:colId xmlns:a16="http://schemas.microsoft.com/office/drawing/2014/main" val="1643594757"/>
                    </a:ext>
                  </a:extLst>
                </a:gridCol>
              </a:tblGrid>
              <a:tr h="371814">
                <a:tc rowSpan="2">
                  <a:txBody>
                    <a:bodyPr/>
                    <a:lstStyle/>
                    <a:p>
                      <a:pPr algn="l" fontAlgn="b"/>
                      <a:r>
                        <a:rPr lang="cs-CZ" sz="1200" b="1" i="0" u="sng" strike="noStrike" dirty="0">
                          <a:solidFill>
                            <a:srgbClr val="000000"/>
                          </a:solidFill>
                          <a:effectLst/>
                          <a:latin typeface="+mn-lt"/>
                          <a:cs typeface="Calibri" panose="020F0502020204030204" pitchFamily="34" charset="0"/>
                        </a:rPr>
                        <a:t>KRAJ VAKCINACE</a:t>
                      </a:r>
                    </a:p>
                  </a:txBody>
                  <a:tcPr marL="6350" marR="6350" marT="6350" marB="0" anchor="ctr">
                    <a:lnR w="12700" cap="flat" cmpd="sng" algn="ctr">
                      <a:solidFill>
                        <a:schemeClr val="bg1">
                          <a:lumMod val="75000"/>
                        </a:schemeClr>
                      </a:solidFill>
                      <a:prstDash val="solid"/>
                      <a:round/>
                      <a:headEnd type="none" w="med" len="med"/>
                      <a:tailEnd type="none" w="med" len="med"/>
                    </a:lnR>
                    <a:lnB w="28575"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fontAlgn="b"/>
                      <a:r>
                        <a:rPr lang="cs-CZ" sz="1200" b="1" u="none" strike="noStrike" dirty="0">
                          <a:solidFill>
                            <a:schemeClr val="tx1"/>
                          </a:solidFill>
                          <a:effectLst/>
                          <a:latin typeface="+mn-lt"/>
                        </a:rPr>
                        <a:t>Počet dávek celkem</a:t>
                      </a:r>
                      <a:endParaRPr lang="cs-CZ" sz="1200" b="1" i="1" u="none" strike="noStrike" dirty="0">
                        <a:solidFill>
                          <a:schemeClr val="tx1"/>
                        </a:solidFill>
                        <a:effectLst/>
                        <a:latin typeface="+mn-lt"/>
                        <a:cs typeface="Calibri" panose="020F050202020403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28575" cap="flat" cmpd="sng" algn="ctr">
                      <a:solidFill>
                        <a:schemeClr val="tx1"/>
                      </a:solidFill>
                      <a:prstDash val="solid"/>
                      <a:round/>
                      <a:headEnd type="none" w="med" len="med"/>
                      <a:tailEnd type="none" w="med" len="med"/>
                    </a:lnB>
                    <a:solidFill>
                      <a:schemeClr val="bg1">
                        <a:lumMod val="85000"/>
                      </a:schemeClr>
                    </a:solidFill>
                  </a:tcPr>
                </a:tc>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u="none" strike="noStrike" dirty="0">
                          <a:solidFill>
                            <a:schemeClr val="tx1"/>
                          </a:solidFill>
                          <a:effectLst/>
                          <a:latin typeface="+mn-lt"/>
                        </a:rPr>
                        <a:t>Věk očkovaných</a:t>
                      </a:r>
                    </a:p>
                  </a:txBody>
                  <a:tcPr marL="6350" marR="6350" marT="635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lumMod val="85000"/>
                      </a:schemeClr>
                    </a:solidFill>
                  </a:tcPr>
                </a:tc>
                <a:tc hMerge="1">
                  <a:txBody>
                    <a:bodyPr/>
                    <a:lstStyle/>
                    <a:p>
                      <a:pPr algn="ctr" fontAlgn="b"/>
                      <a:endParaRPr lang="cs-CZ" sz="1600" b="1" i="0" u="none" strike="noStrike" dirty="0">
                        <a:solidFill>
                          <a:schemeClr val="tx1"/>
                        </a:solidFill>
                        <a:effectLst/>
                        <a:latin typeface="+mn-lt"/>
                        <a:cs typeface="Calibri" panose="020F0502020204030204" pitchFamily="34" charset="0"/>
                      </a:endParaRPr>
                    </a:p>
                  </a:txBody>
                  <a:tcPr marL="6350" marR="6350" marT="6350" marB="0" anchor="ctr">
                    <a:lnB w="12700" cap="flat" cmpd="sng" algn="ctr">
                      <a:solidFill>
                        <a:schemeClr val="bg1">
                          <a:lumMod val="85000"/>
                        </a:schemeClr>
                      </a:solidFill>
                      <a:prstDash val="solid"/>
                      <a:round/>
                      <a:headEnd type="none" w="med" len="med"/>
                      <a:tailEnd type="none" w="med" len="med"/>
                    </a:lnB>
                  </a:tcPr>
                </a:tc>
                <a:tc hMerge="1">
                  <a:txBody>
                    <a:bodyPr/>
                    <a:lstStyle/>
                    <a:p>
                      <a:endParaRPr lang="cs-CZ"/>
                    </a:p>
                  </a:txBody>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cs-CZ" sz="1200" b="1" u="none" strike="noStrike" dirty="0">
                        <a:solidFill>
                          <a:schemeClr val="tx1"/>
                        </a:solidFill>
                        <a:effectLst/>
                        <a:latin typeface="+mn-lt"/>
                      </a:endParaRPr>
                    </a:p>
                  </a:txBody>
                  <a:tcPr marL="6350" marR="6350" marT="635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755346014"/>
                  </a:ext>
                </a:extLst>
              </a:tr>
              <a:tr h="381640">
                <a:tc vMerge="1">
                  <a:txBody>
                    <a:bodyPr/>
                    <a:lstStyle/>
                    <a:p>
                      <a:pPr algn="l" fontAlgn="b"/>
                      <a:endParaRPr lang="cs-CZ" sz="14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ctr" fontAlgn="b"/>
                      <a:endParaRPr lang="cs-CZ" sz="1400" b="1" i="1" u="none" strike="noStrike" dirty="0">
                        <a:solidFill>
                          <a:schemeClr val="tx1"/>
                        </a:solidFill>
                        <a:effectLst/>
                        <a:latin typeface="+mn-lt"/>
                        <a:cs typeface="Calibri" panose="020F050202020403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Arial" panose="020B0604020202020204" pitchFamily="34" charset="0"/>
                        </a:rPr>
                        <a:t>&lt;45</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Arial" panose="020B0604020202020204" pitchFamily="34" charset="0"/>
                        </a:rPr>
                        <a:t>45–59</a:t>
                      </a:r>
                    </a:p>
                  </a:txBody>
                  <a:tcPr marL="9525" marR="9525" marT="9525" marB="0" anchor="ct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Arial" panose="020B0604020202020204" pitchFamily="34" charset="0"/>
                        </a:rPr>
                        <a:t>60–69</a:t>
                      </a:r>
                    </a:p>
                  </a:txBody>
                  <a:tcPr marL="9525" marR="9525" marT="9525" marB="0" anchor="ct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Arial" panose="020B0604020202020204" pitchFamily="34" charset="0"/>
                        </a:rPr>
                        <a:t>70+</a:t>
                      </a:r>
                    </a:p>
                  </a:txBody>
                  <a:tcPr marL="9525" marR="9525" marT="9525" marB="0" anchor="ct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293062634"/>
                  </a:ext>
                </a:extLst>
              </a:tr>
              <a:tr h="286718">
                <a:tc>
                  <a:txBody>
                    <a:bodyPr/>
                    <a:lstStyle/>
                    <a:p>
                      <a:pPr algn="l" fontAlgn="b"/>
                      <a:r>
                        <a:rPr lang="cs-CZ" sz="1200" b="1" u="none" strike="noStrike" dirty="0">
                          <a:effectLst/>
                          <a:latin typeface="+mn-lt"/>
                        </a:rPr>
                        <a:t>Hlavní město Praha</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2 32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1 030 (40,2 %)</a:t>
                      </a:r>
                    </a:p>
                  </a:txBody>
                  <a:tcPr marL="9525" marR="9525" marT="9525" marB="0"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1 524 (41,1 %)</a:t>
                      </a:r>
                    </a:p>
                  </a:txBody>
                  <a:tcPr marL="9525" marR="9525" marT="9525" marB="0" anchor="ct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8 789 (16,8 %)</a:t>
                      </a:r>
                    </a:p>
                  </a:txBody>
                  <a:tcPr marL="9525" marR="9525" marT="9525" marB="0" anchor="ct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83 (1,9 %)</a:t>
                      </a:r>
                    </a:p>
                  </a:txBody>
                  <a:tcPr marL="9525" marR="9525" marT="9525" marB="0" anchor="ct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76035022"/>
                  </a:ext>
                </a:extLst>
              </a:tr>
              <a:tr h="286718">
                <a:tc>
                  <a:txBody>
                    <a:bodyPr/>
                    <a:lstStyle/>
                    <a:p>
                      <a:pPr algn="l" fontAlgn="b"/>
                      <a:r>
                        <a:rPr lang="cs-CZ" sz="1200" b="1" u="none" strike="noStrike" dirty="0">
                          <a:effectLst/>
                          <a:latin typeface="+mn-lt"/>
                        </a:rPr>
                        <a:t>Středoče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6 77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8 154 (38,8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0 713 (44,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 813 (14,6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099 (2,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48947671"/>
                  </a:ext>
                </a:extLst>
              </a:tr>
              <a:tr h="286718">
                <a:tc>
                  <a:txBody>
                    <a:bodyPr/>
                    <a:lstStyle/>
                    <a:p>
                      <a:pPr algn="l" fontAlgn="b"/>
                      <a:r>
                        <a:rPr lang="cs-CZ" sz="1200" b="1" u="none" strike="noStrike">
                          <a:effectLst/>
                          <a:latin typeface="+mn-lt"/>
                        </a:rPr>
                        <a:t>Jihočeský kraj</a:t>
                      </a:r>
                      <a:endParaRPr lang="cs-CZ" sz="1200" b="1" i="0" u="none" strike="noStrike">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2 76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8 094 (35,6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380 (50,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948 (13,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39 (1,5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44333786"/>
                  </a:ext>
                </a:extLst>
              </a:tr>
              <a:tr h="286718">
                <a:tc>
                  <a:txBody>
                    <a:bodyPr/>
                    <a:lstStyle/>
                    <a:p>
                      <a:pPr algn="l" fontAlgn="b"/>
                      <a:r>
                        <a:rPr lang="cs-CZ" sz="1200" b="1" u="none" strike="noStrike">
                          <a:effectLst/>
                          <a:latin typeface="+mn-lt"/>
                        </a:rPr>
                        <a:t>Plzeňský kraj</a:t>
                      </a:r>
                      <a:endParaRPr lang="cs-CZ" sz="1200" b="1" i="0" u="none" strike="noStrike">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1 52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7 330 (34,1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 203 (47,4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576 (16,6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15 (1,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43186940"/>
                  </a:ext>
                </a:extLst>
              </a:tr>
              <a:tr h="286718">
                <a:tc>
                  <a:txBody>
                    <a:bodyPr/>
                    <a:lstStyle/>
                    <a:p>
                      <a:pPr algn="l" fontAlgn="b"/>
                      <a:r>
                        <a:rPr lang="cs-CZ" sz="1200" b="1" u="none" strike="noStrike" dirty="0">
                          <a:effectLst/>
                          <a:latin typeface="+mn-lt"/>
                        </a:rPr>
                        <a:t>Karlovar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8 56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465 (28,8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214 (49,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669 (19,5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13 (2,5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47044073"/>
                  </a:ext>
                </a:extLst>
              </a:tr>
              <a:tr h="286718">
                <a:tc>
                  <a:txBody>
                    <a:bodyPr/>
                    <a:lstStyle/>
                    <a:p>
                      <a:pPr algn="l" fontAlgn="b"/>
                      <a:r>
                        <a:rPr lang="cs-CZ" sz="1200" b="1" u="none" strike="noStrike">
                          <a:effectLst/>
                          <a:latin typeface="+mn-lt"/>
                        </a:rPr>
                        <a:t>Ústecký kraj</a:t>
                      </a:r>
                      <a:endParaRPr lang="cs-CZ" sz="1200" b="1" i="0" u="none" strike="noStrike">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0 54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246 (36,8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4 552 (47,6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293 (14,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57 (1,5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894236"/>
                  </a:ext>
                </a:extLst>
              </a:tr>
              <a:tr h="286718">
                <a:tc>
                  <a:txBody>
                    <a:bodyPr/>
                    <a:lstStyle/>
                    <a:p>
                      <a:pPr algn="l" fontAlgn="b"/>
                      <a:r>
                        <a:rPr lang="cs-CZ" sz="1200" b="1" u="none" strike="noStrike" dirty="0">
                          <a:effectLst/>
                          <a:latin typeface="+mn-lt"/>
                        </a:rPr>
                        <a:t>Libere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08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946 (35,6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238 (47,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652 (14,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46 (2,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8109536"/>
                  </a:ext>
                </a:extLst>
              </a:tr>
              <a:tr h="286718">
                <a:tc>
                  <a:txBody>
                    <a:bodyPr/>
                    <a:lstStyle/>
                    <a:p>
                      <a:pPr algn="l" fontAlgn="b"/>
                      <a:r>
                        <a:rPr lang="cs-CZ" sz="1200" b="1" u="none" strike="noStrike" dirty="0">
                          <a:effectLst/>
                          <a:latin typeface="+mn-lt"/>
                        </a:rPr>
                        <a:t>Královéhrade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9 33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7 181 (37,1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 076 (46,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751 (14,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25 (1,7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19525594"/>
                  </a:ext>
                </a:extLst>
              </a:tr>
              <a:tr h="286718">
                <a:tc>
                  <a:txBody>
                    <a:bodyPr/>
                    <a:lstStyle/>
                    <a:p>
                      <a:pPr algn="l" fontAlgn="b"/>
                      <a:r>
                        <a:rPr lang="cs-CZ" sz="1200" b="1" u="none" strike="noStrike" dirty="0">
                          <a:effectLst/>
                          <a:latin typeface="+mn-lt"/>
                        </a:rPr>
                        <a:t>Pardubi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0 46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7 290 (35,6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 819 (48,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088 (15,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66 (1,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50366277"/>
                  </a:ext>
                </a:extLst>
              </a:tr>
              <a:tr h="286718">
                <a:tc>
                  <a:txBody>
                    <a:bodyPr/>
                    <a:lstStyle/>
                    <a:p>
                      <a:pPr algn="l" fontAlgn="b"/>
                      <a:r>
                        <a:rPr lang="cs-CZ" sz="1200" b="1" u="none" strike="noStrike" dirty="0">
                          <a:effectLst/>
                          <a:latin typeface="+mn-lt"/>
                        </a:rPr>
                        <a:t>Kraj Vysočina</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9 85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 859 (34,6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 130 (51,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672 (13,5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91 (1,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2557106"/>
                  </a:ext>
                </a:extLst>
              </a:tr>
              <a:tr h="286718">
                <a:tc>
                  <a:txBody>
                    <a:bodyPr/>
                    <a:lstStyle/>
                    <a:p>
                      <a:pPr algn="l" fontAlgn="b"/>
                      <a:r>
                        <a:rPr lang="cs-CZ" sz="1200" b="1" u="none" strike="noStrike" dirty="0">
                          <a:effectLst/>
                          <a:latin typeface="+mn-lt"/>
                        </a:rPr>
                        <a:t>Jihomorav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9 39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0 156 (40,8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1 688 (43,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 867 (13,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81 (1,4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7962169"/>
                  </a:ext>
                </a:extLst>
              </a:tr>
              <a:tr h="286718">
                <a:tc>
                  <a:txBody>
                    <a:bodyPr/>
                    <a:lstStyle/>
                    <a:p>
                      <a:pPr algn="l" fontAlgn="b"/>
                      <a:r>
                        <a:rPr lang="cs-CZ" sz="1200" b="1" u="none" strike="noStrike" dirty="0">
                          <a:effectLst/>
                          <a:latin typeface="+mn-lt"/>
                        </a:rPr>
                        <a:t>Olomou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7 82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 425 (36,0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8 731 (49,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473 (13,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00 (1,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3644269"/>
                  </a:ext>
                </a:extLst>
              </a:tr>
              <a:tr h="286718">
                <a:tc>
                  <a:txBody>
                    <a:bodyPr/>
                    <a:lstStyle/>
                    <a:p>
                      <a:pPr algn="l" fontAlgn="b"/>
                      <a:r>
                        <a:rPr lang="cs-CZ" sz="1200" b="1" u="none" strike="noStrike" dirty="0">
                          <a:effectLst/>
                          <a:latin typeface="+mn-lt"/>
                        </a:rPr>
                        <a:t>Zlín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9 55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 359 (32,5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 564 (48,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437 (17,6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92 (1,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56090642"/>
                  </a:ext>
                </a:extLst>
              </a:tr>
              <a:tr h="286718">
                <a:tc>
                  <a:txBody>
                    <a:bodyPr/>
                    <a:lstStyle/>
                    <a:p>
                      <a:pPr algn="l" fontAlgn="b"/>
                      <a:r>
                        <a:rPr lang="cs-CZ" sz="1200" b="1" u="none" strike="noStrike" dirty="0">
                          <a:effectLst/>
                          <a:latin typeface="+mn-lt"/>
                        </a:rPr>
                        <a:t>Moravskoslez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22 94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7 743 (33,8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11 513 (50,2 %)</a:t>
                      </a:r>
                    </a:p>
                  </a:txBody>
                  <a:tcPr marL="9525" marR="9525" marT="9525" marB="0" anchor="ct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3 485 (15,2 %)</a:t>
                      </a:r>
                    </a:p>
                  </a:txBody>
                  <a:tcPr marL="9525" marR="9525" marT="9525" marB="0" anchor="ct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199 (0,9 %)</a:t>
                      </a:r>
                    </a:p>
                  </a:txBody>
                  <a:tcPr marL="9525" marR="9525" marT="9525" marB="0" anchor="ctr">
                    <a:lnT w="1270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2328310195"/>
                  </a:ext>
                </a:extLst>
              </a:tr>
              <a:tr h="286718">
                <a:tc>
                  <a:txBody>
                    <a:bodyPr/>
                    <a:lstStyle/>
                    <a:p>
                      <a:pPr algn="l" fontAlgn="b"/>
                      <a:r>
                        <a:rPr lang="cs-CZ" sz="1200" b="1" u="none" strike="noStrike" dirty="0">
                          <a:effectLst/>
                          <a:latin typeface="+mn-lt"/>
                        </a:rPr>
                        <a:t>ČR</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noFill/>
                  </a:tcPr>
                </a:tc>
                <a:tc>
                  <a:txBody>
                    <a:bodyPr/>
                    <a:lstStyle/>
                    <a:p>
                      <a:pPr algn="ctr" fontAlgn="ctr"/>
                      <a:r>
                        <a:rPr lang="cs-CZ" sz="1100" b="1" i="0" u="none" strike="noStrike">
                          <a:solidFill>
                            <a:srgbClr val="000000"/>
                          </a:solidFill>
                          <a:effectLst/>
                          <a:latin typeface="Arial" panose="020B0604020202020204" pitchFamily="34" charset="0"/>
                        </a:rPr>
                        <a:t>362 94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noFill/>
                  </a:tcPr>
                </a:tc>
                <a:tc>
                  <a:txBody>
                    <a:bodyPr/>
                    <a:lstStyle/>
                    <a:p>
                      <a:pPr algn="ctr" fontAlgn="ctr"/>
                      <a:r>
                        <a:rPr lang="cs-CZ" sz="1100" b="1" i="0" u="none" strike="noStrike">
                          <a:solidFill>
                            <a:srgbClr val="000000"/>
                          </a:solidFill>
                          <a:effectLst/>
                          <a:latin typeface="Arial" panose="020B0604020202020204" pitchFamily="34" charset="0"/>
                        </a:rPr>
                        <a:t>134 278 (37,0 %)</a:t>
                      </a:r>
                    </a:p>
                  </a:txBody>
                  <a:tcPr marL="9525" marR="9525" marT="9525" marB="0" anchor="ctr">
                    <a:lnL w="12700" cap="flat" cmpd="sng" algn="ctr">
                      <a:solidFill>
                        <a:schemeClr val="bg1">
                          <a:lumMod val="75000"/>
                        </a:schemeClr>
                      </a:solidFill>
                      <a:prstDash val="solid"/>
                      <a:round/>
                      <a:headEnd type="none" w="med" len="med"/>
                      <a:tailEnd type="none" w="med" len="med"/>
                    </a:lnL>
                    <a:noFill/>
                  </a:tcPr>
                </a:tc>
                <a:tc>
                  <a:txBody>
                    <a:bodyPr/>
                    <a:lstStyle/>
                    <a:p>
                      <a:pPr algn="ctr" fontAlgn="ctr"/>
                      <a:r>
                        <a:rPr lang="cs-CZ" sz="1100" b="1" i="0" u="none" strike="noStrike">
                          <a:solidFill>
                            <a:srgbClr val="000000"/>
                          </a:solidFill>
                          <a:effectLst/>
                          <a:latin typeface="Arial" panose="020B0604020202020204" pitchFamily="34" charset="0"/>
                        </a:rPr>
                        <a:t>168 345 (46,4 %)</a:t>
                      </a:r>
                    </a:p>
                  </a:txBody>
                  <a:tcPr marL="9525" marR="9525" marT="9525" marB="0" anchor="ctr">
                    <a:noFill/>
                  </a:tcPr>
                </a:tc>
                <a:tc>
                  <a:txBody>
                    <a:bodyPr/>
                    <a:lstStyle/>
                    <a:p>
                      <a:pPr algn="ctr" fontAlgn="ctr"/>
                      <a:r>
                        <a:rPr lang="cs-CZ" sz="1100" b="1" i="0" u="none" strike="noStrike">
                          <a:solidFill>
                            <a:srgbClr val="000000"/>
                          </a:solidFill>
                          <a:effectLst/>
                          <a:latin typeface="Arial" panose="020B0604020202020204" pitchFamily="34" charset="0"/>
                        </a:rPr>
                        <a:t>54 513 (15,0 %)</a:t>
                      </a:r>
                    </a:p>
                  </a:txBody>
                  <a:tcPr marL="9525" marR="9525" marT="9525" marB="0" anchor="ctr">
                    <a:noFill/>
                  </a:tcPr>
                </a:tc>
                <a:tc>
                  <a:txBody>
                    <a:bodyPr/>
                    <a:lstStyle/>
                    <a:p>
                      <a:pPr algn="ctr" fontAlgn="ctr"/>
                      <a:r>
                        <a:rPr lang="cs-CZ" sz="1100" b="1" i="0" u="none" strike="noStrike" dirty="0">
                          <a:solidFill>
                            <a:srgbClr val="000000"/>
                          </a:solidFill>
                          <a:effectLst/>
                          <a:latin typeface="Arial" panose="020B0604020202020204" pitchFamily="34" charset="0"/>
                        </a:rPr>
                        <a:t>5 806 (1,6 %)</a:t>
                      </a:r>
                    </a:p>
                  </a:txBody>
                  <a:tcPr marL="9525" marR="9525" marT="9525" marB="0" anchor="ctr">
                    <a:noFill/>
                  </a:tcPr>
                </a:tc>
                <a:extLst>
                  <a:ext uri="{0D108BD9-81ED-4DB2-BD59-A6C34878D82A}">
                    <a16:rowId xmlns:a16="http://schemas.microsoft.com/office/drawing/2014/main" val="181976480"/>
                  </a:ext>
                </a:extLst>
              </a:tr>
            </a:tbl>
          </a:graphicData>
        </a:graphic>
      </p:graphicFrame>
      <p:sp>
        <p:nvSpPr>
          <p:cNvPr id="8" name="TextBox 6">
            <a:extLst>
              <a:ext uri="{FF2B5EF4-FFF2-40B4-BE49-F238E27FC236}">
                <a16:creationId xmlns:a16="http://schemas.microsoft.com/office/drawing/2014/main" id="{BC6FFFED-13A4-4A03-BD26-00013CB21341}"/>
              </a:ext>
            </a:extLst>
          </p:cNvPr>
          <p:cNvSpPr txBox="1"/>
          <p:nvPr/>
        </p:nvSpPr>
        <p:spPr>
          <a:xfrm>
            <a:off x="5733475" y="103334"/>
            <a:ext cx="2706254" cy="369332"/>
          </a:xfrm>
          <a:prstGeom prst="rect">
            <a:avLst/>
          </a:prstGeom>
          <a:noFill/>
        </p:spPr>
        <p:txBody>
          <a:bodyPr wrap="square" rtlCol="0">
            <a:spAutoFit/>
          </a:bodyPr>
          <a:lstStyle/>
          <a:p>
            <a:r>
              <a:rPr lang="cs-CZ" b="1" dirty="0">
                <a:solidFill>
                  <a:schemeClr val="bg1"/>
                </a:solidFill>
              </a:rPr>
              <a:t>Stav k 4. 6. 2021</a:t>
            </a:r>
          </a:p>
        </p:txBody>
      </p:sp>
      <p:sp>
        <p:nvSpPr>
          <p:cNvPr id="4" name="Obdélník 3">
            <a:extLst>
              <a:ext uri="{FF2B5EF4-FFF2-40B4-BE49-F238E27FC236}">
                <a16:creationId xmlns:a16="http://schemas.microsoft.com/office/drawing/2014/main" id="{39D5AAD9-759E-4EB8-B1E0-14789DBC7EF0}"/>
              </a:ext>
            </a:extLst>
          </p:cNvPr>
          <p:cNvSpPr/>
          <p:nvPr/>
        </p:nvSpPr>
        <p:spPr>
          <a:xfrm>
            <a:off x="284663" y="629370"/>
            <a:ext cx="6013185" cy="400110"/>
          </a:xfrm>
          <a:prstGeom prst="rect">
            <a:avLst/>
          </a:prstGeom>
        </p:spPr>
        <p:txBody>
          <a:bodyPr wrap="none">
            <a:spAutoFit/>
          </a:bodyPr>
          <a:lstStyle/>
          <a:p>
            <a:pPr fontAlgn="ctr"/>
            <a:r>
              <a:rPr lang="cs-CZ" sz="2000" b="1" dirty="0">
                <a:solidFill>
                  <a:srgbClr val="000000"/>
                </a:solidFill>
              </a:rPr>
              <a:t>Počet podaných dávek u pracovníků ve školství</a:t>
            </a:r>
          </a:p>
        </p:txBody>
      </p:sp>
      <p:sp>
        <p:nvSpPr>
          <p:cNvPr id="12" name="Obdélník 11">
            <a:extLst>
              <a:ext uri="{FF2B5EF4-FFF2-40B4-BE49-F238E27FC236}">
                <a16:creationId xmlns:a16="http://schemas.microsoft.com/office/drawing/2014/main" id="{4616DA5E-1F63-4E85-84D0-825587E0B8F1}"/>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3" name="Chart 6">
            <a:extLst>
              <a:ext uri="{FF2B5EF4-FFF2-40B4-BE49-F238E27FC236}">
                <a16:creationId xmlns:a16="http://schemas.microsoft.com/office/drawing/2014/main" id="{BF582BF0-7019-4115-B482-4CBDE08F7687}"/>
              </a:ext>
            </a:extLst>
          </p:cNvPr>
          <p:cNvGraphicFramePr/>
          <p:nvPr>
            <p:extLst>
              <p:ext uri="{D42A27DB-BD31-4B8C-83A1-F6EECF244321}">
                <p14:modId xmlns:p14="http://schemas.microsoft.com/office/powerpoint/2010/main" val="3263632809"/>
              </p:ext>
            </p:extLst>
          </p:nvPr>
        </p:nvGraphicFramePr>
        <p:xfrm>
          <a:off x="7464834" y="1428850"/>
          <a:ext cx="4631916" cy="511840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7">
            <a:extLst>
              <a:ext uri="{FF2B5EF4-FFF2-40B4-BE49-F238E27FC236}">
                <a16:creationId xmlns:a16="http://schemas.microsoft.com/office/drawing/2014/main" id="{F4964039-AB9F-4804-985D-74F39DD6274C}"/>
              </a:ext>
            </a:extLst>
          </p:cNvPr>
          <p:cNvSpPr txBox="1"/>
          <p:nvPr/>
        </p:nvSpPr>
        <p:spPr>
          <a:xfrm>
            <a:off x="8772525" y="905625"/>
            <a:ext cx="32586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čet podaných dáve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na 100 zaměstnanců ve školství</a:t>
            </a:r>
          </a:p>
        </p:txBody>
      </p:sp>
    </p:spTree>
    <p:extLst>
      <p:ext uri="{BB962C8B-B14F-4D97-AF65-F5344CB8AC3E}">
        <p14:creationId xmlns:p14="http://schemas.microsoft.com/office/powerpoint/2010/main" val="38784812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247CD11E-31CA-47DB-AE1C-FAE093A77E8E}"/>
              </a:ext>
            </a:extLst>
          </p:cNvPr>
          <p:cNvGraphicFramePr>
            <a:graphicFrameLocks noGrp="1"/>
          </p:cNvGraphicFramePr>
          <p:nvPr>
            <p:extLst>
              <p:ext uri="{D42A27DB-BD31-4B8C-83A1-F6EECF244321}">
                <p14:modId xmlns:p14="http://schemas.microsoft.com/office/powerpoint/2010/main" val="1723579717"/>
              </p:ext>
            </p:extLst>
          </p:nvPr>
        </p:nvGraphicFramePr>
        <p:xfrm>
          <a:off x="2619130" y="1828285"/>
          <a:ext cx="4660248" cy="4471328"/>
        </p:xfrm>
        <a:graphic>
          <a:graphicData uri="http://schemas.openxmlformats.org/drawingml/2006/table">
            <a:tbl>
              <a:tblPr/>
              <a:tblGrid>
                <a:gridCol w="1165062">
                  <a:extLst>
                    <a:ext uri="{9D8B030D-6E8A-4147-A177-3AD203B41FA5}">
                      <a16:colId xmlns:a16="http://schemas.microsoft.com/office/drawing/2014/main" val="3738993694"/>
                    </a:ext>
                  </a:extLst>
                </a:gridCol>
                <a:gridCol w="1165062">
                  <a:extLst>
                    <a:ext uri="{9D8B030D-6E8A-4147-A177-3AD203B41FA5}">
                      <a16:colId xmlns:a16="http://schemas.microsoft.com/office/drawing/2014/main" val="2986758423"/>
                    </a:ext>
                  </a:extLst>
                </a:gridCol>
                <a:gridCol w="1165062">
                  <a:extLst>
                    <a:ext uri="{9D8B030D-6E8A-4147-A177-3AD203B41FA5}">
                      <a16:colId xmlns:a16="http://schemas.microsoft.com/office/drawing/2014/main" val="2992349631"/>
                    </a:ext>
                  </a:extLst>
                </a:gridCol>
                <a:gridCol w="1165062">
                  <a:extLst>
                    <a:ext uri="{9D8B030D-6E8A-4147-A177-3AD203B41FA5}">
                      <a16:colId xmlns:a16="http://schemas.microsoft.com/office/drawing/2014/main" val="3969061214"/>
                    </a:ext>
                  </a:extLst>
                </a:gridCol>
              </a:tblGrid>
              <a:tr h="279458">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F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4C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139346477"/>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7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2D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193471954"/>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DBD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4249882762"/>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88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ED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86927962"/>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939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AC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640447786"/>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48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6D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578092206"/>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1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3D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550631772"/>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58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5D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966069714"/>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2D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1888124947"/>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38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D9D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3244593975"/>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6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2D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203604422"/>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B8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5D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674107977"/>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68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CBC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349707793"/>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8B8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3D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2493056078"/>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A1A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6E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812259841"/>
                  </a:ext>
                </a:extLst>
              </a:tr>
              <a:tr h="27945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E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D2D4"/>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FCFF"/>
                    </a:solidFill>
                  </a:tcPr>
                </a:tc>
                <a:extLst>
                  <a:ext uri="{0D108BD9-81ED-4DB2-BD59-A6C34878D82A}">
                    <a16:rowId xmlns:a16="http://schemas.microsoft.com/office/drawing/2014/main" val="3453594018"/>
                  </a:ext>
                </a:extLst>
              </a:tr>
            </a:tbl>
          </a:graphicData>
        </a:graphic>
      </p:graphicFrame>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57785" y="0"/>
            <a:ext cx="7434501" cy="576000"/>
          </a:xfrm>
        </p:spPr>
        <p:txBody>
          <a:bodyPr/>
          <a:lstStyle/>
          <a:p>
            <a:r>
              <a:rPr lang="cs-CZ" dirty="0"/>
              <a:t>Vakcinace pracovníků ve školství</a:t>
            </a:r>
            <a:endParaRPr lang="cs-CZ" dirty="0"/>
          </a:p>
        </p:txBody>
      </p:sp>
      <p:graphicFrame>
        <p:nvGraphicFramePr>
          <p:cNvPr id="3" name="Table 2">
            <a:extLst>
              <a:ext uri="{FF2B5EF4-FFF2-40B4-BE49-F238E27FC236}">
                <a16:creationId xmlns:a16="http://schemas.microsoft.com/office/drawing/2014/main" id="{1B702ECB-2E9A-4E7A-904D-5B5431DFD06D}"/>
              </a:ext>
            </a:extLst>
          </p:cNvPr>
          <p:cNvGraphicFramePr>
            <a:graphicFrameLocks noGrp="1"/>
          </p:cNvGraphicFramePr>
          <p:nvPr>
            <p:extLst>
              <p:ext uri="{D42A27DB-BD31-4B8C-83A1-F6EECF244321}">
                <p14:modId xmlns:p14="http://schemas.microsoft.com/office/powerpoint/2010/main" val="2654578831"/>
              </p:ext>
            </p:extLst>
          </p:nvPr>
        </p:nvGraphicFramePr>
        <p:xfrm>
          <a:off x="203855" y="1089402"/>
          <a:ext cx="7075523" cy="5210211"/>
        </p:xfrm>
        <a:graphic>
          <a:graphicData uri="http://schemas.openxmlformats.org/drawingml/2006/table">
            <a:tbl>
              <a:tblPr firstRow="1" lastRow="1" bandRow="1">
                <a:tableStyleId>{74C1A8A3-306A-4EB7-A6B1-4F7E0EB9C5D6}</a:tableStyleId>
              </a:tblPr>
              <a:tblGrid>
                <a:gridCol w="1617663">
                  <a:extLst>
                    <a:ext uri="{9D8B030D-6E8A-4147-A177-3AD203B41FA5}">
                      <a16:colId xmlns:a16="http://schemas.microsoft.com/office/drawing/2014/main" val="2523158226"/>
                    </a:ext>
                  </a:extLst>
                </a:gridCol>
                <a:gridCol w="790100">
                  <a:extLst>
                    <a:ext uri="{9D8B030D-6E8A-4147-A177-3AD203B41FA5}">
                      <a16:colId xmlns:a16="http://schemas.microsoft.com/office/drawing/2014/main" val="3128786877"/>
                    </a:ext>
                  </a:extLst>
                </a:gridCol>
                <a:gridCol w="1166940">
                  <a:extLst>
                    <a:ext uri="{9D8B030D-6E8A-4147-A177-3AD203B41FA5}">
                      <a16:colId xmlns:a16="http://schemas.microsoft.com/office/drawing/2014/main" val="3315404817"/>
                    </a:ext>
                  </a:extLst>
                </a:gridCol>
                <a:gridCol w="1166940">
                  <a:extLst>
                    <a:ext uri="{9D8B030D-6E8A-4147-A177-3AD203B41FA5}">
                      <a16:colId xmlns:a16="http://schemas.microsoft.com/office/drawing/2014/main" val="445358752"/>
                    </a:ext>
                  </a:extLst>
                </a:gridCol>
                <a:gridCol w="1166940">
                  <a:extLst>
                    <a:ext uri="{9D8B030D-6E8A-4147-A177-3AD203B41FA5}">
                      <a16:colId xmlns:a16="http://schemas.microsoft.com/office/drawing/2014/main" val="4133037004"/>
                    </a:ext>
                  </a:extLst>
                </a:gridCol>
                <a:gridCol w="1166940">
                  <a:extLst>
                    <a:ext uri="{9D8B030D-6E8A-4147-A177-3AD203B41FA5}">
                      <a16:colId xmlns:a16="http://schemas.microsoft.com/office/drawing/2014/main" val="31374386"/>
                    </a:ext>
                  </a:extLst>
                </a:gridCol>
              </a:tblGrid>
              <a:tr h="362713">
                <a:tc rowSpan="2">
                  <a:txBody>
                    <a:bodyPr/>
                    <a:lstStyle/>
                    <a:p>
                      <a:pPr algn="l" fontAlgn="b"/>
                      <a:r>
                        <a:rPr lang="cs-CZ" sz="1200" b="1" i="0" u="sng" strike="noStrike" dirty="0">
                          <a:solidFill>
                            <a:srgbClr val="000000"/>
                          </a:solidFill>
                          <a:effectLst/>
                          <a:latin typeface="+mn-lt"/>
                          <a:cs typeface="Calibri" panose="020F0502020204030204" pitchFamily="34" charset="0"/>
                        </a:rPr>
                        <a:t>KRAJ BYDLIŠTĚ</a:t>
                      </a:r>
                    </a:p>
                  </a:txBody>
                  <a:tcPr marL="6350" marR="6350" marT="6350" marB="0" anchor="ctr">
                    <a:lnR w="12700" cap="flat" cmpd="sng" algn="ctr">
                      <a:solidFill>
                        <a:schemeClr val="bg1">
                          <a:lumMod val="75000"/>
                        </a:schemeClr>
                      </a:solidFill>
                      <a:prstDash val="solid"/>
                      <a:round/>
                      <a:headEnd type="none" w="med" len="med"/>
                      <a:tailEnd type="none" w="med" len="med"/>
                    </a:lnR>
                    <a:lnB w="28575"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fontAlgn="b"/>
                      <a:r>
                        <a:rPr lang="cs-CZ" sz="1200" b="1" u="none" strike="noStrike" dirty="0">
                          <a:solidFill>
                            <a:schemeClr val="tx1"/>
                          </a:solidFill>
                          <a:effectLst/>
                          <a:latin typeface="+mn-lt"/>
                        </a:rPr>
                        <a:t>Počet osob celkem</a:t>
                      </a:r>
                      <a:endParaRPr lang="cs-CZ" sz="1200" b="1" i="1" u="none" strike="noStrike" dirty="0">
                        <a:solidFill>
                          <a:schemeClr val="tx1"/>
                        </a:solidFill>
                        <a:effectLst/>
                        <a:latin typeface="+mn-lt"/>
                        <a:cs typeface="Calibri" panose="020F050202020403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28575" cap="flat" cmpd="sng" algn="ctr">
                      <a:solidFill>
                        <a:schemeClr val="tx1"/>
                      </a:solidFill>
                      <a:prstDash val="solid"/>
                      <a:round/>
                      <a:headEnd type="none" w="med" len="med"/>
                      <a:tailEnd type="none" w="med" len="med"/>
                    </a:lnB>
                    <a:solidFill>
                      <a:schemeClr val="bg1">
                        <a:lumMod val="85000"/>
                      </a:schemeClr>
                    </a:solidFill>
                  </a:tcPr>
                </a:tc>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u="none" strike="noStrike" dirty="0">
                          <a:solidFill>
                            <a:schemeClr val="tx1"/>
                          </a:solidFill>
                          <a:effectLst/>
                          <a:latin typeface="+mn-lt"/>
                        </a:rPr>
                        <a:t>Věk očkovaných</a:t>
                      </a:r>
                    </a:p>
                  </a:txBody>
                  <a:tcPr marL="6350" marR="6350" marT="635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chemeClr val="bg1">
                        <a:lumMod val="85000"/>
                      </a:schemeClr>
                    </a:solidFill>
                  </a:tcPr>
                </a:tc>
                <a:tc hMerge="1">
                  <a:txBody>
                    <a:bodyPr/>
                    <a:lstStyle/>
                    <a:p>
                      <a:pPr algn="ctr" fontAlgn="b"/>
                      <a:endParaRPr lang="cs-CZ" sz="1600" b="1" i="0" u="none" strike="noStrike" dirty="0">
                        <a:solidFill>
                          <a:schemeClr val="tx1"/>
                        </a:solidFill>
                        <a:effectLst/>
                        <a:latin typeface="+mn-lt"/>
                        <a:cs typeface="Calibri" panose="020F0502020204030204" pitchFamily="34" charset="0"/>
                      </a:endParaRPr>
                    </a:p>
                  </a:txBody>
                  <a:tcPr marL="6350" marR="6350" marT="6350" marB="0" anchor="ctr">
                    <a:lnB w="12700" cap="flat" cmpd="sng" algn="ctr">
                      <a:solidFill>
                        <a:schemeClr val="bg1">
                          <a:lumMod val="85000"/>
                        </a:schemeClr>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755346014"/>
                  </a:ext>
                </a:extLst>
              </a:tr>
              <a:tr h="372298">
                <a:tc vMerge="1">
                  <a:txBody>
                    <a:bodyPr/>
                    <a:lstStyle/>
                    <a:p>
                      <a:pPr algn="l" fontAlgn="b"/>
                      <a:endParaRPr lang="cs-CZ" sz="14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ctr" fontAlgn="b"/>
                      <a:endParaRPr lang="cs-CZ" sz="1400" b="1" i="1" u="none" strike="noStrike" dirty="0">
                        <a:solidFill>
                          <a:schemeClr val="tx1"/>
                        </a:solidFill>
                        <a:effectLst/>
                        <a:latin typeface="+mn-lt"/>
                        <a:cs typeface="Calibri" panose="020F0502020204030204" pitchFamily="34" charset="0"/>
                      </a:endParaRPr>
                    </a:p>
                  </a:txBody>
                  <a:tcPr marL="6350" marR="6350" marT="635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Arial" panose="020B0604020202020204" pitchFamily="34" charset="0"/>
                        </a:rPr>
                        <a:t>&lt;45</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Arial" panose="020B0604020202020204" pitchFamily="34" charset="0"/>
                        </a:rPr>
                        <a:t>45–59</a:t>
                      </a:r>
                    </a:p>
                  </a:txBody>
                  <a:tcPr marL="9525" marR="9525" marT="9525" marB="0" anchor="ct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Arial" panose="020B0604020202020204" pitchFamily="34" charset="0"/>
                        </a:rPr>
                        <a:t>60–69</a:t>
                      </a:r>
                    </a:p>
                  </a:txBody>
                  <a:tcPr marL="9525" marR="9525" marT="9525" marB="0" anchor="ct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Arial" panose="020B0604020202020204" pitchFamily="34" charset="0"/>
                        </a:rPr>
                        <a:t>70+</a:t>
                      </a:r>
                    </a:p>
                  </a:txBody>
                  <a:tcPr marL="9525" marR="9525" marT="9525" marB="0" anchor="ctr">
                    <a:lnT w="12700" cap="flat" cmpd="sng" algn="ctr">
                      <a:solidFill>
                        <a:schemeClr val="bg1">
                          <a:lumMod val="85000"/>
                        </a:schemeClr>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293062634"/>
                  </a:ext>
                </a:extLst>
              </a:tr>
              <a:tr h="279700">
                <a:tc>
                  <a:txBody>
                    <a:bodyPr/>
                    <a:lstStyle/>
                    <a:p>
                      <a:pPr algn="l" fontAlgn="b"/>
                      <a:r>
                        <a:rPr lang="cs-CZ" sz="1200" b="1" u="none" strike="noStrike" dirty="0">
                          <a:effectLst/>
                          <a:latin typeface="+mn-lt"/>
                        </a:rPr>
                        <a:t>Hlavní město Praha</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3 48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 387 (40,0 %)</a:t>
                      </a:r>
                    </a:p>
                  </a:txBody>
                  <a:tcPr marL="9525" marR="9525" marT="9525" marB="0"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 619 (41,0 %)</a:t>
                      </a:r>
                    </a:p>
                  </a:txBody>
                  <a:tcPr marL="9525" marR="9525" marT="9525" marB="0" anchor="ct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001 (17,0 %)</a:t>
                      </a:r>
                    </a:p>
                  </a:txBody>
                  <a:tcPr marL="9525" marR="9525" marT="9525" marB="0" anchor="ct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77 (2,0 %)</a:t>
                      </a:r>
                    </a:p>
                  </a:txBody>
                  <a:tcPr marL="9525" marR="9525" marT="9525" marB="0" anchor="ct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76035022"/>
                  </a:ext>
                </a:extLst>
              </a:tr>
              <a:tr h="279700">
                <a:tc>
                  <a:txBody>
                    <a:bodyPr/>
                    <a:lstStyle/>
                    <a:p>
                      <a:pPr algn="l" fontAlgn="b"/>
                      <a:r>
                        <a:rPr lang="cs-CZ" sz="1200" b="1" u="none" strike="noStrike" dirty="0">
                          <a:effectLst/>
                          <a:latin typeface="+mn-lt"/>
                        </a:rPr>
                        <a:t>Středoče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7 071</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 837 (40,0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830 (43,7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815 (14,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89 (2,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48947671"/>
                  </a:ext>
                </a:extLst>
              </a:tr>
              <a:tr h="279700">
                <a:tc>
                  <a:txBody>
                    <a:bodyPr/>
                    <a:lstStyle/>
                    <a:p>
                      <a:pPr algn="l" fontAlgn="b"/>
                      <a:r>
                        <a:rPr lang="cs-CZ" sz="1200" b="1" u="none" strike="noStrike" dirty="0">
                          <a:effectLst/>
                          <a:latin typeface="+mn-lt"/>
                        </a:rPr>
                        <a:t>Jihoče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2 61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050 (40,0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909 (46,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487 (11,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69 (1,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44333786"/>
                  </a:ext>
                </a:extLst>
              </a:tr>
              <a:tr h="279700">
                <a:tc>
                  <a:txBody>
                    <a:bodyPr/>
                    <a:lstStyle/>
                    <a:p>
                      <a:pPr algn="l" fontAlgn="b"/>
                      <a:r>
                        <a:rPr lang="cs-CZ" sz="1200" b="1" u="none" strike="noStrike" dirty="0">
                          <a:effectLst/>
                          <a:latin typeface="+mn-lt"/>
                        </a:rPr>
                        <a:t>Plzeň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45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185 (36,5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260 (45,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805 (15,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08 (1,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43186940"/>
                  </a:ext>
                </a:extLst>
              </a:tr>
              <a:tr h="279700">
                <a:tc>
                  <a:txBody>
                    <a:bodyPr/>
                    <a:lstStyle/>
                    <a:p>
                      <a:pPr algn="l" fontAlgn="b"/>
                      <a:r>
                        <a:rPr lang="cs-CZ" sz="1200" b="1" u="none" strike="noStrike" dirty="0">
                          <a:effectLst/>
                          <a:latin typeface="+mn-lt"/>
                        </a:rPr>
                        <a:t>Karlovar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23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774 (33,9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445 (46,7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08 (17,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9 (2,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47044073"/>
                  </a:ext>
                </a:extLst>
              </a:tr>
              <a:tr h="279700">
                <a:tc>
                  <a:txBody>
                    <a:bodyPr/>
                    <a:lstStyle/>
                    <a:p>
                      <a:pPr algn="l" fontAlgn="b"/>
                      <a:r>
                        <a:rPr lang="cs-CZ" sz="1200" b="1" u="none" strike="noStrike" dirty="0">
                          <a:effectLst/>
                          <a:latin typeface="+mn-lt"/>
                        </a:rPr>
                        <a:t>Úste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6 55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 367 (38,5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7 739 (46,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212 (13,4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34 (1,4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24894236"/>
                  </a:ext>
                </a:extLst>
              </a:tr>
              <a:tr h="279700">
                <a:tc>
                  <a:txBody>
                    <a:bodyPr/>
                    <a:lstStyle/>
                    <a:p>
                      <a:pPr algn="l" fontAlgn="b"/>
                      <a:r>
                        <a:rPr lang="cs-CZ" sz="1200" b="1" u="none" strike="noStrike" dirty="0">
                          <a:effectLst/>
                          <a:latin typeface="+mn-lt"/>
                        </a:rPr>
                        <a:t>Libere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6 04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323 (38,4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 732 (45,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867 (14,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24 (2,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8109536"/>
                  </a:ext>
                </a:extLst>
              </a:tr>
              <a:tr h="279700">
                <a:tc>
                  <a:txBody>
                    <a:bodyPr/>
                    <a:lstStyle/>
                    <a:p>
                      <a:pPr algn="l" fontAlgn="b"/>
                      <a:r>
                        <a:rPr lang="cs-CZ" sz="1200" b="1" u="none" strike="noStrike" dirty="0">
                          <a:effectLst/>
                          <a:latin typeface="+mn-lt"/>
                        </a:rPr>
                        <a:t>Královéhrade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 92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150 (38,0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078 (46,5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513 (13,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83 (1,7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19525594"/>
                  </a:ext>
                </a:extLst>
              </a:tr>
              <a:tr h="279700">
                <a:tc>
                  <a:txBody>
                    <a:bodyPr/>
                    <a:lstStyle/>
                    <a:p>
                      <a:pPr algn="l" fontAlgn="b"/>
                      <a:r>
                        <a:rPr lang="cs-CZ" sz="1200" b="1" u="none" strike="noStrike" dirty="0">
                          <a:effectLst/>
                          <a:latin typeface="+mn-lt"/>
                        </a:rPr>
                        <a:t>Pardubi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382</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450 (39,1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195 (45,6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596 (14,0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41 (1,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50366277"/>
                  </a:ext>
                </a:extLst>
              </a:tr>
              <a:tr h="279700">
                <a:tc>
                  <a:txBody>
                    <a:bodyPr/>
                    <a:lstStyle/>
                    <a:p>
                      <a:pPr algn="l" fontAlgn="b"/>
                      <a:r>
                        <a:rPr lang="cs-CZ" sz="1200" b="1" u="none" strike="noStrike" dirty="0">
                          <a:effectLst/>
                          <a:latin typeface="+mn-lt"/>
                        </a:rPr>
                        <a:t>Kraj Vysočina</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56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529 (39,2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527 (47,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413 (12,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7 (0,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2557106"/>
                  </a:ext>
                </a:extLst>
              </a:tr>
              <a:tr h="279700">
                <a:tc>
                  <a:txBody>
                    <a:bodyPr/>
                    <a:lstStyle/>
                    <a:p>
                      <a:pPr algn="l" fontAlgn="b"/>
                      <a:r>
                        <a:rPr lang="cs-CZ" sz="1200" b="1" u="none" strike="noStrike" dirty="0">
                          <a:effectLst/>
                          <a:latin typeface="+mn-lt"/>
                        </a:rPr>
                        <a:t>Jihomorav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25 85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 518 (40,7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1 467 (44,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539 (13,7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35 (1,3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7962169"/>
                  </a:ext>
                </a:extLst>
              </a:tr>
              <a:tr h="279700">
                <a:tc>
                  <a:txBody>
                    <a:bodyPr/>
                    <a:lstStyle/>
                    <a:p>
                      <a:pPr algn="l" fontAlgn="b"/>
                      <a:r>
                        <a:rPr lang="cs-CZ" sz="1200" b="1" u="none" strike="noStrike" dirty="0">
                          <a:effectLst/>
                          <a:latin typeface="+mn-lt"/>
                        </a:rPr>
                        <a:t>Olomouc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 26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475 (37,5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440 (47,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253 (13,5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0 (1,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3644269"/>
                  </a:ext>
                </a:extLst>
              </a:tr>
              <a:tr h="279700">
                <a:tc>
                  <a:txBody>
                    <a:bodyPr/>
                    <a:lstStyle/>
                    <a:p>
                      <a:pPr algn="l" fontAlgn="b"/>
                      <a:r>
                        <a:rPr lang="cs-CZ" sz="1200" b="1" u="none" strike="noStrike" dirty="0">
                          <a:effectLst/>
                          <a:latin typeface="+mn-lt"/>
                        </a:rPr>
                        <a:t>Zlín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 493</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3 901 (37,2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811 (45,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686 (16,1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95 (0,9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56090642"/>
                  </a:ext>
                </a:extLst>
              </a:tr>
              <a:tr h="279700">
                <a:tc>
                  <a:txBody>
                    <a:bodyPr/>
                    <a:lstStyle/>
                    <a:p>
                      <a:pPr algn="l" fontAlgn="b"/>
                      <a:r>
                        <a:rPr lang="cs-CZ" sz="1200" b="1" u="none" strike="noStrike" dirty="0">
                          <a:effectLst/>
                          <a:latin typeface="+mn-lt"/>
                        </a:rPr>
                        <a:t>Moravskoslezský kraj</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2 377</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4 601 (37,2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5 911 (47,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 761 (14,2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Arial" panose="020B0604020202020204" pitchFamily="34" charset="0"/>
                        </a:rPr>
                        <a:t>104 (0,8 %)</a:t>
                      </a:r>
                    </a:p>
                  </a:txBody>
                  <a:tcPr marL="9525" marR="9525" marT="9525"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4098754"/>
                  </a:ext>
                </a:extLst>
              </a:tr>
              <a:tr h="279700">
                <a:tc>
                  <a:txBody>
                    <a:bodyPr/>
                    <a:lstStyle/>
                    <a:p>
                      <a:pPr algn="l" fontAlgn="b"/>
                      <a:r>
                        <a:rPr lang="cs-CZ" sz="1200" b="1" u="none" strike="noStrike" dirty="0">
                          <a:effectLst/>
                        </a:rPr>
                        <a:t>neuvedeno*</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3 288</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1 848 (56,2 %)</a:t>
                      </a:r>
                    </a:p>
                  </a:txBody>
                  <a:tcPr marL="9525" marR="9525" marT="9525"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1 100 (33,5 %)</a:t>
                      </a:r>
                    </a:p>
                  </a:txBody>
                  <a:tcPr marL="9525" marR="9525" marT="9525" marB="0" anchor="ct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308 (9,4 %)</a:t>
                      </a:r>
                    </a:p>
                  </a:txBody>
                  <a:tcPr marL="9525" marR="9525" marT="9525" marB="0" anchor="ctr">
                    <a:lnT w="12700" cap="flat" cmpd="sng" algn="ctr">
                      <a:solidFill>
                        <a:schemeClr val="bg1">
                          <a:lumMod val="85000"/>
                        </a:schemeClr>
                      </a:solidFill>
                      <a:prstDash val="solid"/>
                      <a:round/>
                      <a:headEnd type="none" w="med" len="med"/>
                      <a:tailEnd type="none" w="med" len="med"/>
                    </a:lnT>
                    <a:noFill/>
                  </a:tcPr>
                </a:tc>
                <a:tc>
                  <a:txBody>
                    <a:bodyPr/>
                    <a:lstStyle/>
                    <a:p>
                      <a:pPr algn="ctr" fontAlgn="ctr"/>
                      <a:r>
                        <a:rPr lang="cs-CZ" sz="1100" b="0" i="0" u="none" strike="noStrike">
                          <a:solidFill>
                            <a:srgbClr val="000000"/>
                          </a:solidFill>
                          <a:effectLst/>
                          <a:latin typeface="Arial" panose="020B0604020202020204" pitchFamily="34" charset="0"/>
                        </a:rPr>
                        <a:t>32 (1,0 %)</a:t>
                      </a:r>
                    </a:p>
                  </a:txBody>
                  <a:tcPr marL="9525" marR="9525" marT="9525" marB="0" anchor="ctr">
                    <a:lnT w="1270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2328310195"/>
                  </a:ext>
                </a:extLst>
              </a:tr>
              <a:tr h="279700">
                <a:tc>
                  <a:txBody>
                    <a:bodyPr/>
                    <a:lstStyle/>
                    <a:p>
                      <a:pPr algn="l" fontAlgn="b"/>
                      <a:r>
                        <a:rPr lang="cs-CZ" sz="1200" b="1" u="none" strike="noStrike" dirty="0">
                          <a:effectLst/>
                          <a:latin typeface="+mn-lt"/>
                        </a:rPr>
                        <a:t>ČR</a:t>
                      </a:r>
                      <a:endParaRPr lang="cs-CZ" sz="1200" b="1" i="0" u="none" strike="noStrike" dirty="0">
                        <a:solidFill>
                          <a:srgbClr val="000000"/>
                        </a:solidFill>
                        <a:effectLst/>
                        <a:latin typeface="+mn-lt"/>
                        <a:cs typeface="Calibri" panose="020F0502020204030204" pitchFamily="34" charset="0"/>
                      </a:endParaRPr>
                    </a:p>
                  </a:txBody>
                  <a:tcPr marL="6350" marR="6350" marT="6350" marB="0" anchor="ctr">
                    <a:lnR w="12700" cap="flat" cmpd="sng" algn="ctr">
                      <a:solidFill>
                        <a:schemeClr val="bg1">
                          <a:lumMod val="75000"/>
                        </a:schemeClr>
                      </a:solidFill>
                      <a:prstDash val="solid"/>
                      <a:round/>
                      <a:headEnd type="none" w="med" len="med"/>
                      <a:tailEnd type="none" w="med" len="med"/>
                    </a:lnR>
                    <a:noFill/>
                  </a:tcPr>
                </a:tc>
                <a:tc>
                  <a:txBody>
                    <a:bodyPr/>
                    <a:lstStyle/>
                    <a:p>
                      <a:pPr algn="ctr" fontAlgn="ctr"/>
                      <a:r>
                        <a:rPr lang="cs-CZ" sz="1100" b="1" i="0" u="none" strike="noStrike">
                          <a:solidFill>
                            <a:srgbClr val="000000"/>
                          </a:solidFill>
                          <a:effectLst/>
                          <a:latin typeface="Arial" panose="020B0604020202020204" pitchFamily="34" charset="0"/>
                        </a:rPr>
                        <a:t>197 61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noFill/>
                  </a:tcPr>
                </a:tc>
                <a:tc>
                  <a:txBody>
                    <a:bodyPr/>
                    <a:lstStyle/>
                    <a:p>
                      <a:pPr algn="ctr" fontAlgn="ctr"/>
                      <a:r>
                        <a:rPr lang="cs-CZ" sz="1100" b="1" i="0" u="none" strike="noStrike">
                          <a:solidFill>
                            <a:srgbClr val="000000"/>
                          </a:solidFill>
                          <a:effectLst/>
                          <a:latin typeface="Arial" panose="020B0604020202020204" pitchFamily="34" charset="0"/>
                        </a:rPr>
                        <a:t>77 395 (39,2 %)</a:t>
                      </a:r>
                    </a:p>
                  </a:txBody>
                  <a:tcPr marL="9525" marR="9525" marT="9525" marB="0" anchor="ctr">
                    <a:lnL w="12700" cap="flat" cmpd="sng" algn="ctr">
                      <a:solidFill>
                        <a:schemeClr val="bg1">
                          <a:lumMod val="75000"/>
                        </a:schemeClr>
                      </a:solidFill>
                      <a:prstDash val="solid"/>
                      <a:round/>
                      <a:headEnd type="none" w="med" len="med"/>
                      <a:tailEnd type="none" w="med" len="med"/>
                    </a:lnL>
                    <a:noFill/>
                  </a:tcPr>
                </a:tc>
                <a:tc>
                  <a:txBody>
                    <a:bodyPr/>
                    <a:lstStyle/>
                    <a:p>
                      <a:pPr algn="ctr" fontAlgn="ctr"/>
                      <a:r>
                        <a:rPr lang="cs-CZ" sz="1100" b="1" i="0" u="none" strike="noStrike">
                          <a:solidFill>
                            <a:srgbClr val="000000"/>
                          </a:solidFill>
                          <a:effectLst/>
                          <a:latin typeface="Arial" panose="020B0604020202020204" pitchFamily="34" charset="0"/>
                        </a:rPr>
                        <a:t>89 063 (45,1 %)</a:t>
                      </a:r>
                    </a:p>
                  </a:txBody>
                  <a:tcPr marL="9525" marR="9525" marT="9525" marB="0" anchor="ctr">
                    <a:noFill/>
                  </a:tcPr>
                </a:tc>
                <a:tc>
                  <a:txBody>
                    <a:bodyPr/>
                    <a:lstStyle/>
                    <a:p>
                      <a:pPr algn="ctr" fontAlgn="ctr"/>
                      <a:r>
                        <a:rPr lang="cs-CZ" sz="1100" b="1" i="0" u="none" strike="noStrike">
                          <a:solidFill>
                            <a:srgbClr val="000000"/>
                          </a:solidFill>
                          <a:effectLst/>
                          <a:latin typeface="Arial" panose="020B0604020202020204" pitchFamily="34" charset="0"/>
                        </a:rPr>
                        <a:t>28 164 (14,3 %)</a:t>
                      </a:r>
                    </a:p>
                  </a:txBody>
                  <a:tcPr marL="9525" marR="9525" marT="9525" marB="0" anchor="ctr">
                    <a:noFill/>
                  </a:tcPr>
                </a:tc>
                <a:tc>
                  <a:txBody>
                    <a:bodyPr/>
                    <a:lstStyle/>
                    <a:p>
                      <a:pPr algn="ctr" fontAlgn="ctr"/>
                      <a:r>
                        <a:rPr lang="cs-CZ" sz="1100" b="1" i="0" u="none" strike="noStrike" dirty="0">
                          <a:solidFill>
                            <a:srgbClr val="000000"/>
                          </a:solidFill>
                          <a:effectLst/>
                          <a:latin typeface="Arial" panose="020B0604020202020204" pitchFamily="34" charset="0"/>
                        </a:rPr>
                        <a:t>2 997 (1,5 %)</a:t>
                      </a:r>
                    </a:p>
                  </a:txBody>
                  <a:tcPr marL="9525" marR="9525" marT="9525" marB="0" anchor="ctr">
                    <a:noFill/>
                  </a:tcPr>
                </a:tc>
                <a:extLst>
                  <a:ext uri="{0D108BD9-81ED-4DB2-BD59-A6C34878D82A}">
                    <a16:rowId xmlns:a16="http://schemas.microsoft.com/office/drawing/2014/main" val="181976480"/>
                  </a:ext>
                </a:extLst>
              </a:tr>
            </a:tbl>
          </a:graphicData>
        </a:graphic>
      </p:graphicFrame>
      <p:sp>
        <p:nvSpPr>
          <p:cNvPr id="8" name="TextBox 6">
            <a:extLst>
              <a:ext uri="{FF2B5EF4-FFF2-40B4-BE49-F238E27FC236}">
                <a16:creationId xmlns:a16="http://schemas.microsoft.com/office/drawing/2014/main" id="{BC6FFFED-13A4-4A03-BD26-00013CB21341}"/>
              </a:ext>
            </a:extLst>
          </p:cNvPr>
          <p:cNvSpPr txBox="1"/>
          <p:nvPr/>
        </p:nvSpPr>
        <p:spPr>
          <a:xfrm>
            <a:off x="5733475" y="103334"/>
            <a:ext cx="2706254" cy="369332"/>
          </a:xfrm>
          <a:prstGeom prst="rect">
            <a:avLst/>
          </a:prstGeom>
          <a:noFill/>
        </p:spPr>
        <p:txBody>
          <a:bodyPr wrap="square" rtlCol="0">
            <a:spAutoFit/>
          </a:bodyPr>
          <a:lstStyle/>
          <a:p>
            <a:r>
              <a:rPr lang="cs-CZ" b="1" dirty="0">
                <a:solidFill>
                  <a:schemeClr val="bg1"/>
                </a:solidFill>
              </a:rPr>
              <a:t>Stav k 4. 6. 2021</a:t>
            </a:r>
          </a:p>
        </p:txBody>
      </p:sp>
      <p:sp>
        <p:nvSpPr>
          <p:cNvPr id="4" name="Obdélník 3">
            <a:extLst>
              <a:ext uri="{FF2B5EF4-FFF2-40B4-BE49-F238E27FC236}">
                <a16:creationId xmlns:a16="http://schemas.microsoft.com/office/drawing/2014/main" id="{39D5AAD9-759E-4EB8-B1E0-14789DBC7EF0}"/>
              </a:ext>
            </a:extLst>
          </p:cNvPr>
          <p:cNvSpPr/>
          <p:nvPr/>
        </p:nvSpPr>
        <p:spPr>
          <a:xfrm>
            <a:off x="284663" y="629370"/>
            <a:ext cx="4071949" cy="400110"/>
          </a:xfrm>
          <a:prstGeom prst="rect">
            <a:avLst/>
          </a:prstGeom>
        </p:spPr>
        <p:txBody>
          <a:bodyPr wrap="none">
            <a:spAutoFit/>
          </a:bodyPr>
          <a:lstStyle/>
          <a:p>
            <a:pPr fontAlgn="ctr"/>
            <a:r>
              <a:rPr lang="cs-CZ" sz="2000" b="1" dirty="0">
                <a:solidFill>
                  <a:srgbClr val="000000"/>
                </a:solidFill>
              </a:rPr>
              <a:t>Očkovaní pracovníci ve školství</a:t>
            </a:r>
          </a:p>
        </p:txBody>
      </p:sp>
      <p:sp>
        <p:nvSpPr>
          <p:cNvPr id="12" name="Obdélník 11">
            <a:extLst>
              <a:ext uri="{FF2B5EF4-FFF2-40B4-BE49-F238E27FC236}">
                <a16:creationId xmlns:a16="http://schemas.microsoft.com/office/drawing/2014/main" id="{4616DA5E-1F63-4E85-84D0-825587E0B8F1}"/>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3" name="Chart 6">
            <a:extLst>
              <a:ext uri="{FF2B5EF4-FFF2-40B4-BE49-F238E27FC236}">
                <a16:creationId xmlns:a16="http://schemas.microsoft.com/office/drawing/2014/main" id="{BF582BF0-7019-4115-B482-4CBDE08F7687}"/>
              </a:ext>
            </a:extLst>
          </p:cNvPr>
          <p:cNvGraphicFramePr/>
          <p:nvPr>
            <p:extLst>
              <p:ext uri="{D42A27DB-BD31-4B8C-83A1-F6EECF244321}">
                <p14:modId xmlns:p14="http://schemas.microsoft.com/office/powerpoint/2010/main" val="2936963895"/>
              </p:ext>
            </p:extLst>
          </p:nvPr>
        </p:nvGraphicFramePr>
        <p:xfrm>
          <a:off x="7464834" y="1285975"/>
          <a:ext cx="4631916" cy="511840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7">
            <a:extLst>
              <a:ext uri="{FF2B5EF4-FFF2-40B4-BE49-F238E27FC236}">
                <a16:creationId xmlns:a16="http://schemas.microsoft.com/office/drawing/2014/main" id="{F4964039-AB9F-4804-985D-74F39DD6274C}"/>
              </a:ext>
            </a:extLst>
          </p:cNvPr>
          <p:cNvSpPr txBox="1"/>
          <p:nvPr/>
        </p:nvSpPr>
        <p:spPr>
          <a:xfrm>
            <a:off x="8772525" y="762750"/>
            <a:ext cx="32586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čet očkovaný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na 100 zaměstnanců ve školství</a:t>
            </a:r>
          </a:p>
        </p:txBody>
      </p:sp>
      <p:sp>
        <p:nvSpPr>
          <p:cNvPr id="10" name="Obdélník 9">
            <a:extLst>
              <a:ext uri="{FF2B5EF4-FFF2-40B4-BE49-F238E27FC236}">
                <a16:creationId xmlns:a16="http://schemas.microsoft.com/office/drawing/2014/main" id="{7AE431B6-47A3-4EF3-82CB-1570665E5B61}"/>
              </a:ext>
            </a:extLst>
          </p:cNvPr>
          <p:cNvSpPr/>
          <p:nvPr/>
        </p:nvSpPr>
        <p:spPr>
          <a:xfrm>
            <a:off x="143088" y="6344490"/>
            <a:ext cx="11950707" cy="261610"/>
          </a:xfrm>
          <a:prstGeom prst="rect">
            <a:avLst/>
          </a:prstGeom>
        </p:spPr>
        <p:txBody>
          <a:bodyPr wrap="none">
            <a:spAutoFit/>
          </a:bodyPr>
          <a:lstStyle/>
          <a:p>
            <a:pPr lvl="0" fontAlgn="b"/>
            <a:r>
              <a:rPr lang="cs-CZ" sz="1100" dirty="0">
                <a:solidFill>
                  <a:srgbClr val="000000"/>
                </a:solidFill>
              </a:rPr>
              <a:t>* Bydliště není uvedeno zpravidla u osob očkovaných na začátku očkovací kampaně z důvodu nefunkčnosti ztotožnění proti základním registrům v tomto období (nebylo ověřeno a uloženo).</a:t>
            </a:r>
            <a:endParaRPr lang="cs-CZ" sz="1100" i="1" dirty="0">
              <a:solidFill>
                <a:srgbClr val="000000"/>
              </a:solidFill>
              <a:cs typeface="Calibri" panose="020F0502020204030204" pitchFamily="34" charset="0"/>
            </a:endParaRPr>
          </a:p>
        </p:txBody>
      </p:sp>
    </p:spTree>
    <p:extLst>
      <p:ext uri="{BB962C8B-B14F-4D97-AF65-F5344CB8AC3E}">
        <p14:creationId xmlns:p14="http://schemas.microsoft.com/office/powerpoint/2010/main" val="41144531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2171958609"/>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1927426863"/>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31.5.–4.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Úst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8,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Liber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4</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8,2</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Královéhrad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8,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Karlovar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8,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Pardubi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9</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cxnSp>
        <p:nvCxnSpPr>
          <p:cNvPr id="11" name="Přímá spojnice se šipkou 10">
            <a:extLst>
              <a:ext uri="{FF2B5EF4-FFF2-40B4-BE49-F238E27FC236}">
                <a16:creationId xmlns:a16="http://schemas.microsoft.com/office/drawing/2014/main" id="{884ECB06-6A4A-485B-B9FC-D62BCFC4E30C}"/>
              </a:ext>
            </a:extLst>
          </p:cNvPr>
          <p:cNvCxnSpPr>
            <a:cxnSpLocks/>
          </p:cNvCxnSpPr>
          <p:nvPr/>
        </p:nvCxnSpPr>
        <p:spPr>
          <a:xfrm>
            <a:off x="5928754" y="1536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E2D3E833-BA61-4D0A-8001-E401179E3719}"/>
              </a:ext>
            </a:extLst>
          </p:cNvPr>
          <p:cNvSpPr/>
          <p:nvPr/>
        </p:nvSpPr>
        <p:spPr>
          <a:xfrm>
            <a:off x="5741788" y="11881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595381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2296304440"/>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1083032270"/>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31.5.–4.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Plzeň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8</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Střed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7</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Zlín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Moravskoslez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2</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Olomou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2</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2</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cxnSp>
        <p:nvCxnSpPr>
          <p:cNvPr id="11" name="Přímá spojnice se šipkou 10">
            <a:extLst>
              <a:ext uri="{FF2B5EF4-FFF2-40B4-BE49-F238E27FC236}">
                <a16:creationId xmlns:a16="http://schemas.microsoft.com/office/drawing/2014/main" id="{884ECB06-6A4A-485B-B9FC-D62BCFC4E30C}"/>
              </a:ext>
            </a:extLst>
          </p:cNvPr>
          <p:cNvCxnSpPr>
            <a:cxnSpLocks/>
          </p:cNvCxnSpPr>
          <p:nvPr/>
        </p:nvCxnSpPr>
        <p:spPr>
          <a:xfrm>
            <a:off x="5928754" y="1536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E2D3E833-BA61-4D0A-8001-E401179E3719}"/>
              </a:ext>
            </a:extLst>
          </p:cNvPr>
          <p:cNvSpPr/>
          <p:nvPr/>
        </p:nvSpPr>
        <p:spPr>
          <a:xfrm>
            <a:off x="5741788" y="11881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33342959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3299053572"/>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1862429204"/>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31.5.–4.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Jih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Kraj Vysočin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7</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Jihomorav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3</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5,9</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Hlavní město Prah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4,8</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cxnSp>
        <p:nvCxnSpPr>
          <p:cNvPr id="11" name="Přímá spojnice se šipkou 10">
            <a:extLst>
              <a:ext uri="{FF2B5EF4-FFF2-40B4-BE49-F238E27FC236}">
                <a16:creationId xmlns:a16="http://schemas.microsoft.com/office/drawing/2014/main" id="{884ECB06-6A4A-485B-B9FC-D62BCFC4E30C}"/>
              </a:ext>
            </a:extLst>
          </p:cNvPr>
          <p:cNvCxnSpPr>
            <a:cxnSpLocks/>
          </p:cNvCxnSpPr>
          <p:nvPr/>
        </p:nvCxnSpPr>
        <p:spPr>
          <a:xfrm>
            <a:off x="5928754" y="1536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E2D3E833-BA61-4D0A-8001-E401179E3719}"/>
              </a:ext>
            </a:extLst>
          </p:cNvPr>
          <p:cNvSpPr/>
          <p:nvPr/>
        </p:nvSpPr>
        <p:spPr>
          <a:xfrm>
            <a:off x="5741788" y="11881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
        <p:nvSpPr>
          <p:cNvPr id="15" name="Obdélník 14">
            <a:extLst>
              <a:ext uri="{FF2B5EF4-FFF2-40B4-BE49-F238E27FC236}">
                <a16:creationId xmlns:a16="http://schemas.microsoft.com/office/drawing/2014/main" id="{64880572-3478-4C11-9689-F12B90D2790E}"/>
              </a:ext>
            </a:extLst>
          </p:cNvPr>
          <p:cNvSpPr/>
          <p:nvPr/>
        </p:nvSpPr>
        <p:spPr>
          <a:xfrm>
            <a:off x="9120483" y="4234026"/>
            <a:ext cx="390664"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442012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929640" y="2274887"/>
            <a:ext cx="10668000" cy="1189622"/>
          </a:xfrm>
        </p:spPr>
        <p:txBody>
          <a:bodyPr/>
          <a:lstStyle/>
          <a:p>
            <a:r>
              <a:rPr lang="cs-CZ" dirty="0"/>
              <a:t>Nákaza COVID-19 u dětí</a:t>
            </a:r>
            <a:br>
              <a:rPr lang="cs-CZ" dirty="0"/>
            </a:br>
            <a:r>
              <a:rPr lang="cs-CZ" dirty="0"/>
              <a:t>–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p:txBody>
          <a:bodyPr>
            <a:normAutofit/>
          </a:bodyPr>
          <a:lstStyle/>
          <a:p>
            <a:r>
              <a:rPr lang="cs-CZ" sz="3800" b="1" dirty="0">
                <a:solidFill>
                  <a:schemeClr val="tx1"/>
                </a:solidFill>
              </a:rPr>
              <a:t>Nákaza COVID-19 u dětí</a:t>
            </a:r>
          </a:p>
        </p:txBody>
      </p:sp>
    </p:spTree>
    <p:extLst>
      <p:ext uri="{BB962C8B-B14F-4D97-AF65-F5344CB8AC3E}">
        <p14:creationId xmlns:p14="http://schemas.microsoft.com/office/powerpoint/2010/main" val="26856307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custDataLst>
              <p:tags r:id="rId1"/>
            </p:custDataLst>
          </p:nvPr>
        </p:nvSpPr>
        <p:spPr>
          <a:xfrm>
            <a:off x="561975" y="68553"/>
            <a:ext cx="1106805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Obdobně jako u pedagogů také vývoj počtu nově COVID-19 pozitivních dětí, žáků a studentů odráží změny</a:t>
            </a:r>
            <a:r>
              <a:rPr kumimoji="0" lang="cs-CZ" sz="2800" b="1" i="0" u="none" strike="noStrike" kern="1200" cap="none" spc="0" normalizeH="0" noProof="0" dirty="0">
                <a:ln>
                  <a:noFill/>
                </a:ln>
                <a:solidFill>
                  <a:prstClr val="black"/>
                </a:solidFill>
                <a:effectLst/>
                <a:uLnTx/>
                <a:uFillTx/>
                <a:latin typeface="Calibri" panose="020F0502020204030204"/>
                <a:ea typeface="+mn-ea"/>
                <a:cs typeface="+mn-cs"/>
              </a:rPr>
              <a:t> v přijatých </a:t>
            </a: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protiepidemických opatřeních</a:t>
            </a: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custDataLst>
              <p:tags r:id="rId2"/>
            </p:custDataLst>
          </p:nvPr>
        </p:nvSpPr>
        <p:spPr>
          <a:xfrm>
            <a:off x="285750" y="2156024"/>
            <a:ext cx="11344275" cy="3785652"/>
          </a:xfrm>
          <a:prstGeom prst="rect">
            <a:avLst/>
          </a:prstGeom>
          <a:noFill/>
        </p:spPr>
        <p:txBody>
          <a:bodyPr wrap="square" rtlCol="0">
            <a:spAutoFit/>
          </a:bodyPr>
          <a:lstStyle/>
          <a:p>
            <a:pPr lvl="0" algn="ctr">
              <a:defRPr/>
            </a:pPr>
            <a:r>
              <a:rPr lang="cs-CZ" sz="2400" b="1" dirty="0">
                <a:solidFill>
                  <a:srgbClr val="C00000"/>
                </a:solidFill>
                <a:latin typeface="Calibri" panose="020F0502020204030204"/>
              </a:rPr>
              <a:t>Po uzavření škol (kromě mateřských) od  14.10. došlo k zastavení </a:t>
            </a:r>
          </a:p>
          <a:p>
            <a:pPr lvl="0" algn="ctr">
              <a:defRPr/>
            </a:pPr>
            <a:r>
              <a:rPr lang="cs-CZ" sz="2400" b="1" dirty="0">
                <a:solidFill>
                  <a:srgbClr val="C00000"/>
                </a:solidFill>
                <a:latin typeface="Calibri" panose="020F0502020204030204"/>
              </a:rPr>
              <a:t>a postupnému poklesu počtu nově pozitivních dětí a žáků. Po znovuotevření části školství od 18.11. a 30.11. nastal opětovný růstu s kulminací v prvním týdnu roku 2021, následným poklesem a opětovným růstem v únoru 2021. Po 1.3. je viditelný významný pokles nákaz nejdříve ve věkových skupinách pod 10 let a následně i starších. Během druhého týdne od Velikonoc a po otevření škol k 12. 4. pro první stupeň se pokles zpomalil a u těchto dětí (kategorie 6-10 let) došlo pravděpodobně vlivem zvýšeného záchytu spojeného s testováním ve školách </a:t>
            </a:r>
            <a:r>
              <a:rPr lang="cs-CZ" sz="2400" b="1" dirty="0" smtClean="0">
                <a:solidFill>
                  <a:srgbClr val="C00000"/>
                </a:solidFill>
                <a:latin typeface="Calibri" panose="020F0502020204030204"/>
              </a:rPr>
              <a:t>k </a:t>
            </a:r>
            <a:r>
              <a:rPr lang="cs-CZ" sz="2400" b="1" dirty="0">
                <a:solidFill>
                  <a:srgbClr val="C00000"/>
                </a:solidFill>
                <a:latin typeface="Calibri" panose="020F0502020204030204"/>
              </a:rPr>
              <a:t>mírnému nárůstu výskytu oproti velikonočním svátkům s menším objemem testů. Dále </a:t>
            </a:r>
            <a:r>
              <a:rPr lang="cs-CZ" sz="2400" b="1" dirty="0" smtClean="0">
                <a:solidFill>
                  <a:srgbClr val="C00000"/>
                </a:solidFill>
                <a:latin typeface="Calibri" panose="020F0502020204030204"/>
              </a:rPr>
              <a:t>pak již pokračuje </a:t>
            </a:r>
            <a:r>
              <a:rPr lang="cs-CZ" sz="2400" b="1" dirty="0">
                <a:solidFill>
                  <a:srgbClr val="C00000"/>
                </a:solidFill>
                <a:latin typeface="Calibri" panose="020F0502020204030204"/>
              </a:rPr>
              <a:t>klesající trend </a:t>
            </a:r>
            <a:endParaRPr lang="cs-CZ" sz="2400" b="1" dirty="0" smtClean="0">
              <a:solidFill>
                <a:srgbClr val="C00000"/>
              </a:solidFill>
              <a:latin typeface="Calibri" panose="020F0502020204030204"/>
            </a:endParaRPr>
          </a:p>
          <a:p>
            <a:pPr lvl="0" algn="ctr">
              <a:defRPr/>
            </a:pPr>
            <a:r>
              <a:rPr lang="cs-CZ" sz="2400" b="1" dirty="0" smtClean="0">
                <a:solidFill>
                  <a:srgbClr val="C00000"/>
                </a:solidFill>
                <a:latin typeface="Calibri" panose="020F0502020204030204"/>
              </a:rPr>
              <a:t>i </a:t>
            </a:r>
            <a:r>
              <a:rPr lang="cs-CZ" sz="2400" b="1" dirty="0">
                <a:solidFill>
                  <a:srgbClr val="C00000"/>
                </a:solidFill>
                <a:latin typeface="Calibri" panose="020F0502020204030204"/>
              </a:rPr>
              <a:t>přes postupné otevírání škol v dalších fázích rozvolnění dle následující tabulky. </a:t>
            </a:r>
            <a:endParaRPr kumimoji="0" lang="cs-CZ" sz="24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custDataLst>
              <p:tags r:id="rId3"/>
            </p:custDataLst>
          </p:nvPr>
        </p:nvSpPr>
        <p:spPr>
          <a:xfrm>
            <a:off x="5548312" y="1437975"/>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Šipka dolů 4">
            <a:extLst>
              <a:ext uri="{FF2B5EF4-FFF2-40B4-BE49-F238E27FC236}">
                <a16:creationId xmlns:a16="http://schemas.microsoft.com/office/drawing/2014/main" id="{F32777FF-8A29-4536-8EED-57C88376F834}"/>
              </a:ext>
            </a:extLst>
          </p:cNvPr>
          <p:cNvSpPr/>
          <p:nvPr>
            <p:custDataLst>
              <p:tags r:id="rId4"/>
            </p:custDataLst>
          </p:nvPr>
        </p:nvSpPr>
        <p:spPr>
          <a:xfrm>
            <a:off x="5548311" y="5975287"/>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9657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192454D-DD98-4298-B7F5-F6E7FDB992A8}"/>
              </a:ext>
            </a:extLst>
          </p:cNvPr>
          <p:cNvSpPr>
            <a:spLocks noGrp="1"/>
          </p:cNvSpPr>
          <p:nvPr>
            <p:ph type="title"/>
            <p:custDataLst>
              <p:tags r:id="rId1"/>
            </p:custDataLst>
          </p:nvPr>
        </p:nvSpPr>
        <p:spPr>
          <a:xfrm>
            <a:off x="381739" y="2"/>
            <a:ext cx="8881901" cy="576000"/>
          </a:xfrm>
        </p:spPr>
        <p:txBody>
          <a:bodyPr/>
          <a:lstStyle/>
          <a:p>
            <a:r>
              <a:rPr lang="cs-CZ" dirty="0"/>
              <a:t>Harmonogram otevírání školských zařízení v krajích ČR 2021</a:t>
            </a:r>
          </a:p>
        </p:txBody>
      </p:sp>
      <p:graphicFrame>
        <p:nvGraphicFramePr>
          <p:cNvPr id="4" name="Tabulka 3">
            <a:extLst>
              <a:ext uri="{FF2B5EF4-FFF2-40B4-BE49-F238E27FC236}">
                <a16:creationId xmlns:a16="http://schemas.microsoft.com/office/drawing/2014/main" id="{3B917A4C-0A6E-4A20-B4B4-7BEC1A524DC6}"/>
              </a:ext>
            </a:extLst>
          </p:cNvPr>
          <p:cNvGraphicFramePr>
            <a:graphicFrameLocks noGrp="1"/>
          </p:cNvGraphicFramePr>
          <p:nvPr>
            <p:custDataLst>
              <p:tags r:id="rId2"/>
            </p:custDataLst>
          </p:nvPr>
        </p:nvGraphicFramePr>
        <p:xfrm>
          <a:off x="623843" y="837488"/>
          <a:ext cx="10263501" cy="5435344"/>
        </p:xfrm>
        <a:graphic>
          <a:graphicData uri="http://schemas.openxmlformats.org/drawingml/2006/table">
            <a:tbl>
              <a:tblPr/>
              <a:tblGrid>
                <a:gridCol w="1557713">
                  <a:extLst>
                    <a:ext uri="{9D8B030D-6E8A-4147-A177-3AD203B41FA5}">
                      <a16:colId xmlns:a16="http://schemas.microsoft.com/office/drawing/2014/main" val="1215761398"/>
                    </a:ext>
                  </a:extLst>
                </a:gridCol>
                <a:gridCol w="621842">
                  <a:extLst>
                    <a:ext uri="{9D8B030D-6E8A-4147-A177-3AD203B41FA5}">
                      <a16:colId xmlns:a16="http://schemas.microsoft.com/office/drawing/2014/main" val="419350444"/>
                    </a:ext>
                  </a:extLst>
                </a:gridCol>
                <a:gridCol w="621842">
                  <a:extLst>
                    <a:ext uri="{9D8B030D-6E8A-4147-A177-3AD203B41FA5}">
                      <a16:colId xmlns:a16="http://schemas.microsoft.com/office/drawing/2014/main" val="3652802359"/>
                    </a:ext>
                  </a:extLst>
                </a:gridCol>
                <a:gridCol w="621842">
                  <a:extLst>
                    <a:ext uri="{9D8B030D-6E8A-4147-A177-3AD203B41FA5}">
                      <a16:colId xmlns:a16="http://schemas.microsoft.com/office/drawing/2014/main" val="4228724131"/>
                    </a:ext>
                  </a:extLst>
                </a:gridCol>
                <a:gridCol w="621842">
                  <a:extLst>
                    <a:ext uri="{9D8B030D-6E8A-4147-A177-3AD203B41FA5}">
                      <a16:colId xmlns:a16="http://schemas.microsoft.com/office/drawing/2014/main" val="1501573108"/>
                    </a:ext>
                  </a:extLst>
                </a:gridCol>
                <a:gridCol w="621842">
                  <a:extLst>
                    <a:ext uri="{9D8B030D-6E8A-4147-A177-3AD203B41FA5}">
                      <a16:colId xmlns:a16="http://schemas.microsoft.com/office/drawing/2014/main" val="1711309026"/>
                    </a:ext>
                  </a:extLst>
                </a:gridCol>
                <a:gridCol w="621842">
                  <a:extLst>
                    <a:ext uri="{9D8B030D-6E8A-4147-A177-3AD203B41FA5}">
                      <a16:colId xmlns:a16="http://schemas.microsoft.com/office/drawing/2014/main" val="1419855610"/>
                    </a:ext>
                  </a:extLst>
                </a:gridCol>
                <a:gridCol w="621842">
                  <a:extLst>
                    <a:ext uri="{9D8B030D-6E8A-4147-A177-3AD203B41FA5}">
                      <a16:colId xmlns:a16="http://schemas.microsoft.com/office/drawing/2014/main" val="3316123008"/>
                    </a:ext>
                  </a:extLst>
                </a:gridCol>
                <a:gridCol w="621842">
                  <a:extLst>
                    <a:ext uri="{9D8B030D-6E8A-4147-A177-3AD203B41FA5}">
                      <a16:colId xmlns:a16="http://schemas.microsoft.com/office/drawing/2014/main" val="3445012241"/>
                    </a:ext>
                  </a:extLst>
                </a:gridCol>
                <a:gridCol w="621842">
                  <a:extLst>
                    <a:ext uri="{9D8B030D-6E8A-4147-A177-3AD203B41FA5}">
                      <a16:colId xmlns:a16="http://schemas.microsoft.com/office/drawing/2014/main" val="1837524180"/>
                    </a:ext>
                  </a:extLst>
                </a:gridCol>
                <a:gridCol w="621842">
                  <a:extLst>
                    <a:ext uri="{9D8B030D-6E8A-4147-A177-3AD203B41FA5}">
                      <a16:colId xmlns:a16="http://schemas.microsoft.com/office/drawing/2014/main" val="1265492353"/>
                    </a:ext>
                  </a:extLst>
                </a:gridCol>
                <a:gridCol w="621842">
                  <a:extLst>
                    <a:ext uri="{9D8B030D-6E8A-4147-A177-3AD203B41FA5}">
                      <a16:colId xmlns:a16="http://schemas.microsoft.com/office/drawing/2014/main" val="2850195630"/>
                    </a:ext>
                  </a:extLst>
                </a:gridCol>
                <a:gridCol w="621842">
                  <a:extLst>
                    <a:ext uri="{9D8B030D-6E8A-4147-A177-3AD203B41FA5}">
                      <a16:colId xmlns:a16="http://schemas.microsoft.com/office/drawing/2014/main" val="3082479294"/>
                    </a:ext>
                  </a:extLst>
                </a:gridCol>
                <a:gridCol w="621842">
                  <a:extLst>
                    <a:ext uri="{9D8B030D-6E8A-4147-A177-3AD203B41FA5}">
                      <a16:colId xmlns:a16="http://schemas.microsoft.com/office/drawing/2014/main" val="3478618505"/>
                    </a:ext>
                  </a:extLst>
                </a:gridCol>
                <a:gridCol w="621842">
                  <a:extLst>
                    <a:ext uri="{9D8B030D-6E8A-4147-A177-3AD203B41FA5}">
                      <a16:colId xmlns:a16="http://schemas.microsoft.com/office/drawing/2014/main" val="676138909"/>
                    </a:ext>
                  </a:extLst>
                </a:gridCol>
              </a:tblGrid>
              <a:tr h="588325">
                <a:tc>
                  <a:txBody>
                    <a:bodyPr/>
                    <a:lstStyle/>
                    <a:p>
                      <a:pPr algn="ctr" rtl="0" fontAlgn="ctr"/>
                      <a:r>
                        <a:rPr lang="cs-CZ" sz="1300" b="1" i="0" u="none" strike="noStrike" dirty="0">
                          <a:solidFill>
                            <a:srgbClr val="FFFFFF"/>
                          </a:solidFill>
                          <a:effectLst/>
                          <a:latin typeface="Arial" panose="020B0604020202020204" pitchFamily="34" charset="0"/>
                        </a:rPr>
                        <a:t>Datum změny</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HK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KV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ST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LB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A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HA</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U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M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O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MS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H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VYS</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Z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extLst>
                  <a:ext uri="{0D108BD9-81ED-4DB2-BD59-A6C34878D82A}">
                    <a16:rowId xmlns:a16="http://schemas.microsoft.com/office/drawing/2014/main" val="2451291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2.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14">
                  <a:txBody>
                    <a:bodyPr/>
                    <a:lstStyle/>
                    <a:p>
                      <a:pPr algn="ctr" fontAlgn="ctr"/>
                      <a:r>
                        <a:rPr lang="cs-CZ" sz="1400" b="0" i="0" u="none" strike="noStrike" dirty="0">
                          <a:solidFill>
                            <a:srgbClr val="000000"/>
                          </a:solidFill>
                          <a:effectLst/>
                          <a:latin typeface="Arial" panose="020B0604020202020204" pitchFamily="34" charset="0"/>
                        </a:rPr>
                        <a:t>MŠ - předškolní děti (</a:t>
                      </a:r>
                      <a:r>
                        <a:rPr lang="cs-CZ" sz="1400" b="0" i="0" u="none" strike="noStrike" dirty="0">
                          <a:solidFill>
                            <a:schemeClr val="tx2"/>
                          </a:solidFill>
                          <a:effectLst/>
                          <a:latin typeface="Arial" panose="020B0604020202020204" pitchFamily="34" charset="0"/>
                        </a:rPr>
                        <a:t>5-6 let</a:t>
                      </a:r>
                      <a:r>
                        <a:rPr lang="cs-CZ" sz="1400" b="0" i="0" u="none" strike="noStrike" dirty="0">
                          <a:solidFill>
                            <a:srgbClr val="000000"/>
                          </a:solidFill>
                          <a:effectLst/>
                          <a:latin typeface="Arial" panose="020B0604020202020204" pitchFamily="34" charset="0"/>
                        </a:rPr>
                        <a:t>) bez roušek a testování dětí (pouze zaměstnanci),</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ZŠ - 1 stupeň (</a:t>
                      </a:r>
                      <a:r>
                        <a:rPr lang="cs-CZ" sz="1400" b="0" i="0" u="none" strike="noStrike" dirty="0">
                          <a:solidFill>
                            <a:schemeClr val="tx2"/>
                          </a:solidFill>
                          <a:effectLst/>
                          <a:latin typeface="Arial" panose="020B0604020202020204" pitchFamily="34" charset="0"/>
                        </a:rPr>
                        <a:t>6-11 let</a:t>
                      </a:r>
                      <a:r>
                        <a:rPr lang="cs-CZ" sz="1400" b="0" i="0" u="none" strike="noStrike" dirty="0">
                          <a:solidFill>
                            <a:srgbClr val="000000"/>
                          </a:solidFill>
                          <a:effectLst/>
                          <a:latin typeface="Arial" panose="020B0604020202020204" pitchFamily="34" charset="0"/>
                        </a:rPr>
                        <a:t>) rotačně, 2x týdně testy a roušky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33744067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6.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3">
                  <a:txBody>
                    <a:bodyPr/>
                    <a:lstStyle/>
                    <a:p>
                      <a:pPr algn="ctr" fontAlgn="ctr"/>
                      <a:r>
                        <a:rPr lang="cs-CZ" sz="1400" b="0" i="0" u="none" strike="noStrike" dirty="0">
                          <a:solidFill>
                            <a:srgbClr val="000000"/>
                          </a:solidFill>
                          <a:effectLst/>
                          <a:latin typeface="Arial" panose="020B0604020202020204" pitchFamily="34" charset="0"/>
                        </a:rPr>
                        <a:t>MŠ zcela (</a:t>
                      </a:r>
                      <a:r>
                        <a:rPr lang="cs-CZ" sz="1400" b="0" i="0" u="none" strike="noStrike" dirty="0">
                          <a:solidFill>
                            <a:schemeClr val="tx2"/>
                          </a:solidFill>
                          <a:effectLst/>
                          <a:latin typeface="Arial" panose="020B0604020202020204" pitchFamily="34" charset="0"/>
                        </a:rPr>
                        <a:t>3-6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extLst>
                  <a:ext uri="{0D108BD9-81ED-4DB2-BD59-A6C34878D82A}">
                    <a16:rowId xmlns:a16="http://schemas.microsoft.com/office/drawing/2014/main" val="16389435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03.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cs-CZ" sz="1400" b="0" i="0" u="none" strike="noStrike" dirty="0">
                          <a:solidFill>
                            <a:srgbClr val="000000"/>
                          </a:solidFill>
                          <a:effectLst/>
                          <a:latin typeface="Arial" panose="020B0604020202020204" pitchFamily="34" charset="0"/>
                        </a:rPr>
                        <a:t>MŠ zcela, ZŠ - 2. stupeň (</a:t>
                      </a:r>
                      <a:r>
                        <a:rPr lang="cs-CZ" sz="1400" b="0" i="0" u="none" strike="noStrike" dirty="0">
                          <a:solidFill>
                            <a:schemeClr val="tx2"/>
                          </a:solidFill>
                          <a:effectLst/>
                          <a:latin typeface="Arial" panose="020B0604020202020204" pitchFamily="34" charset="0"/>
                        </a:rPr>
                        <a:t>11-15 let </a:t>
                      </a:r>
                      <a:r>
                        <a:rPr lang="cs-CZ" sz="1400" b="0" i="0" u="none" strike="noStrike" dirty="0">
                          <a:solidFill>
                            <a:srgbClr val="000000"/>
                          </a:solidFill>
                          <a:effectLst/>
                          <a:latin typeface="Arial" panose="020B0604020202020204" pitchFamily="34" charset="0"/>
                        </a:rPr>
                        <a:t>vč. niž. st. </a:t>
                      </a:r>
                      <a:r>
                        <a:rPr lang="cs-CZ" sz="1400" b="0" i="0" u="none" strike="noStrike" dirty="0" err="1">
                          <a:solidFill>
                            <a:srgbClr val="000000"/>
                          </a:solidFill>
                          <a:effectLst/>
                          <a:latin typeface="Arial" panose="020B0604020202020204" pitchFamily="34" charset="0"/>
                        </a:rPr>
                        <a:t>gym</a:t>
                      </a:r>
                      <a:r>
                        <a:rPr lang="cs-CZ" sz="1400" b="0" i="0" u="none" strike="noStrike" dirty="0">
                          <a:solidFill>
                            <a:srgbClr val="000000"/>
                          </a:solidFill>
                          <a:effectLst/>
                          <a:latin typeface="Arial" panose="020B0604020202020204" pitchFamily="34" charset="0"/>
                        </a:rPr>
                        <a:t>.) </a:t>
                      </a:r>
                    </a:p>
                    <a:p>
                      <a:pPr algn="ctr" fontAlgn="ctr"/>
                      <a:r>
                        <a:rPr lang="cs-CZ" sz="1400" b="0" i="0" u="none" strike="noStrike" dirty="0">
                          <a:solidFill>
                            <a:srgbClr val="000000"/>
                          </a:solidFill>
                          <a:effectLst/>
                          <a:latin typeface="Arial" panose="020B0604020202020204" pitchFamily="34" charset="0"/>
                        </a:rPr>
                        <a:t>rotačně, test 2x týdně (1. st. 1x týdně),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a VOŠ (</a:t>
                      </a:r>
                      <a:r>
                        <a:rPr lang="cs-CZ" sz="1400" b="0" i="0" u="none" strike="noStrike" dirty="0">
                          <a:solidFill>
                            <a:schemeClr val="tx2"/>
                          </a:solidFill>
                          <a:effectLst/>
                          <a:latin typeface="Arial" panose="020B0604020202020204" pitchFamily="34" charset="0"/>
                        </a:rPr>
                        <a:t>19-21 let</a:t>
                      </a:r>
                      <a:r>
                        <a:rPr lang="cs-CZ" sz="1400" b="0" i="0" u="none" strike="noStrike" dirty="0">
                          <a:solidFill>
                            <a:srgbClr val="000000"/>
                          </a:solidFill>
                          <a:effectLst/>
                          <a:latin typeface="Arial" panose="020B0604020202020204" pitchFamily="34" charset="0"/>
                        </a:rPr>
                        <a:t>)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extLst>
                  <a:ext uri="{0D108BD9-81ED-4DB2-BD59-A6C34878D82A}">
                    <a16:rowId xmlns:a16="http://schemas.microsoft.com/office/drawing/2014/main" val="3230514397"/>
                  </a:ext>
                </a:extLst>
              </a:tr>
              <a:tr h="785439">
                <a:tc>
                  <a:txBody>
                    <a:bodyPr/>
                    <a:lstStyle/>
                    <a:p>
                      <a:pPr algn="ctr" rtl="0" fontAlgn="ctr"/>
                      <a:r>
                        <a:rPr lang="cs-CZ" sz="1300" b="0" i="0" u="none" strike="noStrike" dirty="0">
                          <a:solidFill>
                            <a:srgbClr val="000000"/>
                          </a:solidFill>
                          <a:effectLst/>
                          <a:latin typeface="Arial" panose="020B0604020202020204" pitchFamily="34" charset="0"/>
                        </a:rPr>
                        <a:t>10.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a:solidFill>
                            <a:srgbClr val="000000"/>
                          </a:solidFill>
                          <a:effectLst/>
                          <a:latin typeface="Arial" panose="020B0604020202020204" pitchFamily="34" charset="0"/>
                        </a:rPr>
                        <a:t> MŠ zcela, ZŠ - 2. stupeň (vč. niž.st. gymnázií) rotačně, test 2x týdně (1. st. 1x týdně), 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algn="ctr" fontAlgn="ctr"/>
                      <a:r>
                        <a:rPr lang="cs-CZ" sz="1400" b="0" i="0" u="none" strike="noStrike" dirty="0">
                          <a:solidFill>
                            <a:srgbClr val="000000"/>
                          </a:solidFill>
                          <a:effectLst/>
                          <a:latin typeface="Arial" panose="020B0604020202020204" pitchFamily="34" charset="0"/>
                        </a:rPr>
                        <a:t>Otevření škol ve zbývajících krajích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dle režimu z 3. 5. 2021</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599456110"/>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7.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pl-PL" sz="1400" b="0" i="0" u="none" strike="noStrike" dirty="0">
                          <a:solidFill>
                            <a:srgbClr val="000000"/>
                          </a:solidFill>
                          <a:effectLst/>
                          <a:latin typeface="Arial" panose="020B0604020202020204" pitchFamily="34" charset="0"/>
                        </a:rPr>
                        <a:t>ZŠ (</a:t>
                      </a:r>
                      <a:r>
                        <a:rPr lang="pl-PL" sz="1400" b="0" i="0" u="none" strike="noStrike" dirty="0">
                          <a:solidFill>
                            <a:schemeClr val="tx2"/>
                          </a:solidFill>
                          <a:effectLst/>
                          <a:latin typeface="Arial" panose="020B0604020202020204" pitchFamily="34" charset="0"/>
                        </a:rPr>
                        <a:t>6-15 let</a:t>
                      </a:r>
                      <a:r>
                        <a:rPr lang="pl-PL" sz="1400" b="0" i="0" u="none" strike="noStrike" dirty="0">
                          <a:solidFill>
                            <a:srgbClr val="000000"/>
                          </a:solidFill>
                          <a:effectLst/>
                          <a:latin typeface="Arial" panose="020B0604020202020204" pitchFamily="34" charset="0"/>
                        </a:rPr>
                        <a:t>) zcela a bez rotací (test 1x týdně)</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C2E6"/>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gridSpan="7">
                  <a:txBody>
                    <a:bodyPr/>
                    <a:lstStyle/>
                    <a:p>
                      <a:pPr algn="ctr" fontAlgn="ctr"/>
                      <a:r>
                        <a:rPr lang="cs-CZ" sz="1400" b="0" i="0" u="none" strike="noStrike" dirty="0">
                          <a:solidFill>
                            <a:srgbClr val="000000"/>
                          </a:solidFill>
                          <a:effectLst/>
                          <a:latin typeface="Arial" panose="020B0604020202020204" pitchFamily="34" charset="0"/>
                        </a:rPr>
                        <a:t>Bez rotací 1. stupeň ZŠ (2. st. 2x týdně test)</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78123525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4.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14">
                  <a:txBody>
                    <a:bodyPr/>
                    <a:lstStyle/>
                    <a:p>
                      <a:pPr algn="ctr" fontAlgn="ctr"/>
                      <a:r>
                        <a:rPr lang="cs-CZ" sz="1400" b="0" i="0" u="none" strike="noStrike" dirty="0">
                          <a:solidFill>
                            <a:srgbClr val="000000"/>
                          </a:solidFill>
                          <a:effectLst/>
                          <a:latin typeface="Arial" panose="020B0604020202020204" pitchFamily="34" charset="0"/>
                        </a:rPr>
                        <a:t>2. stupeň ZŠ bez rotací v celé ČR (test 1x týdně),</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teoretická výuka bez rotací (test 1x týdně) na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VOŠ (</a:t>
                      </a:r>
                      <a:r>
                        <a:rPr lang="cs-CZ" sz="1400" b="0" i="0" u="none" strike="noStrike" dirty="0">
                          <a:solidFill>
                            <a:schemeClr val="tx2"/>
                          </a:solidFill>
                          <a:effectLst/>
                          <a:latin typeface="Arial" panose="020B0604020202020204" pitchFamily="34" charset="0"/>
                        </a:rPr>
                        <a:t>19-22 let</a:t>
                      </a:r>
                      <a:r>
                        <a:rPr lang="cs-CZ" sz="1400" b="0" i="0" u="none" strike="noStrike" dirty="0">
                          <a:solidFill>
                            <a:srgbClr val="000000"/>
                          </a:solidFill>
                          <a:effectLst/>
                          <a:latin typeface="Arial" panose="020B0604020202020204" pitchFamily="34" charset="0"/>
                        </a:rPr>
                        <a:t>) a VŠ (</a:t>
                      </a:r>
                      <a:r>
                        <a:rPr lang="cs-CZ" sz="1400" b="0" i="0" u="none" strike="noStrike" dirty="0">
                          <a:solidFill>
                            <a:schemeClr val="tx2"/>
                          </a:solidFill>
                          <a:effectLst/>
                          <a:latin typeface="Arial" panose="020B0604020202020204" pitchFamily="34" charset="0"/>
                        </a:rPr>
                        <a:t>19-25 let</a:t>
                      </a:r>
                      <a:r>
                        <a:rPr lang="cs-CZ" sz="1400" b="0" i="0" u="none" strike="noStrike" dirty="0">
                          <a:solidFill>
                            <a:srgbClr val="000000"/>
                          </a:solidFill>
                          <a:effectLst/>
                          <a:latin typeface="Arial" panose="020B0604020202020204" pitchFamily="34" charset="0"/>
                        </a:rPr>
                        <a:t>)</a:t>
                      </a:r>
                    </a:p>
                  </a:txBody>
                  <a:tcPr marL="7007" marR="7007" marT="7007"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5B9BD5"/>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027919237"/>
                  </a:ext>
                </a:extLst>
              </a:tr>
            </a:tbl>
          </a:graphicData>
        </a:graphic>
      </p:graphicFrame>
      <p:sp>
        <p:nvSpPr>
          <p:cNvPr id="5" name="Obdélník 4">
            <a:extLst>
              <a:ext uri="{FF2B5EF4-FFF2-40B4-BE49-F238E27FC236}">
                <a16:creationId xmlns:a16="http://schemas.microsoft.com/office/drawing/2014/main" id="{4D708E5F-5DEE-4F61-9430-42DC39B06B01}"/>
              </a:ext>
            </a:extLst>
          </p:cNvPr>
          <p:cNvSpPr/>
          <p:nvPr>
            <p:custDataLst>
              <p:tags r:id="rId3"/>
            </p:custDataLst>
          </p:nvPr>
        </p:nvSpPr>
        <p:spPr>
          <a:xfrm>
            <a:off x="755653" y="6272832"/>
            <a:ext cx="3164649" cy="338554"/>
          </a:xfrm>
          <a:prstGeom prst="rect">
            <a:avLst/>
          </a:prstGeom>
        </p:spPr>
        <p:txBody>
          <a:bodyPr wrap="none">
            <a:spAutoFit/>
          </a:bodyPr>
          <a:lstStyle/>
          <a:p>
            <a:r>
              <a:rPr lang="cs-CZ" sz="1600" dirty="0"/>
              <a:t>Zdroj: </a:t>
            </a:r>
            <a:r>
              <a:rPr lang="cs-CZ" sz="1600" dirty="0">
                <a:solidFill>
                  <a:srgbClr val="0000FF"/>
                </a:solidFill>
                <a:hlinkClick r:id="rId5">
                  <a:extLst>
                    <a:ext uri="{A12FA001-AC4F-418D-AE19-62706E023703}">
                      <ahyp:hlinkClr xmlns:ahyp="http://schemas.microsoft.com/office/drawing/2018/hyperlinkcolor" xmlns="" val="tx"/>
                    </a:ext>
                  </a:extLst>
                </a:hlinkClick>
              </a:rPr>
              <a:t>https://koronavirus.edu.cz</a:t>
            </a:r>
            <a:r>
              <a:rPr lang="cs-CZ" sz="1600" dirty="0">
                <a:solidFill>
                  <a:srgbClr val="0000FF"/>
                </a:solidFill>
              </a:rPr>
              <a:t> </a:t>
            </a:r>
          </a:p>
        </p:txBody>
      </p:sp>
    </p:spTree>
    <p:extLst>
      <p:ext uri="{BB962C8B-B14F-4D97-AF65-F5344CB8AC3E}">
        <p14:creationId xmlns:p14="http://schemas.microsoft.com/office/powerpoint/2010/main" val="29974211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dětí na 100 000 v populaci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2162175" y="65451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1"/>
            </p:custDataLst>
          </p:nvPr>
        </p:nvGraphicFramePr>
        <p:xfrm>
          <a:off x="1159349" y="1221506"/>
          <a:ext cx="10895001" cy="5365347"/>
        </p:xfrm>
        <a:graphic>
          <a:graphicData uri="http://schemas.openxmlformats.org/drawingml/2006/chart">
            <c:chart xmlns:c="http://schemas.openxmlformats.org/drawingml/2006/chart" xmlns:r="http://schemas.openxmlformats.org/officeDocument/2006/relationships" r:id="rId22"/>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2"/>
            </p:custDataLst>
          </p:nvPr>
        </p:nvSpPr>
        <p:spPr>
          <a:xfrm>
            <a:off x="34023" y="2281090"/>
            <a:ext cx="1180883" cy="2246769"/>
          </a:xfrm>
          <a:prstGeom prst="rect">
            <a:avLst/>
          </a:prstGeom>
        </p:spPr>
        <p:txBody>
          <a:bodyPr wrap="square">
            <a:spAutoFit/>
          </a:bodyPr>
          <a:lstStyle/>
          <a:p>
            <a:pPr algn="ctr" fontAlgn="b"/>
            <a:r>
              <a:rPr lang="cs-CZ" sz="1400" b="1" dirty="0">
                <a:solidFill>
                  <a:srgbClr val="000000"/>
                </a:solidFill>
                <a:latin typeface="Calibri" panose="020F0502020204030204" pitchFamily="34" charset="0"/>
              </a:rPr>
              <a:t>Počet COVID-19 nově pozitivních na 100 000 osob v dané věkové skupině v populaci (suma za celý časový úsek)</a:t>
            </a:r>
          </a:p>
        </p:txBody>
      </p:sp>
      <p:sp>
        <p:nvSpPr>
          <p:cNvPr id="16" name="Obdélník 15">
            <a:extLst>
              <a:ext uri="{FF2B5EF4-FFF2-40B4-BE49-F238E27FC236}">
                <a16:creationId xmlns:a16="http://schemas.microsoft.com/office/drawing/2014/main" id="{645459DB-814D-42C7-8ED7-4B73B6D999D6}"/>
              </a:ext>
            </a:extLst>
          </p:cNvPr>
          <p:cNvSpPr/>
          <p:nvPr>
            <p:custDataLst>
              <p:tags r:id="rId3"/>
            </p:custDataLst>
          </p:nvPr>
        </p:nvSpPr>
        <p:spPr>
          <a:xfrm>
            <a:off x="2190032" y="1344311"/>
            <a:ext cx="1409055"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18" name="Přímá spojnice se šipkou 17">
            <a:extLst>
              <a:ext uri="{FF2B5EF4-FFF2-40B4-BE49-F238E27FC236}">
                <a16:creationId xmlns:a16="http://schemas.microsoft.com/office/drawing/2014/main" id="{C0EA8BCC-CFDC-4F5C-8B77-42B810648BB5}"/>
              </a:ext>
            </a:extLst>
          </p:cNvPr>
          <p:cNvCxnSpPr>
            <a:cxnSpLocks/>
          </p:cNvCxnSpPr>
          <p:nvPr>
            <p:custDataLst>
              <p:tags r:id="rId4"/>
            </p:custDataLst>
          </p:nvPr>
        </p:nvCxnSpPr>
        <p:spPr>
          <a:xfrm>
            <a:off x="3273498" y="2021213"/>
            <a:ext cx="0" cy="20627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Obdélník 19">
            <a:extLst>
              <a:ext uri="{FF2B5EF4-FFF2-40B4-BE49-F238E27FC236}">
                <a16:creationId xmlns:a16="http://schemas.microsoft.com/office/drawing/2014/main" id="{9413FD8F-68CB-4DC6-8D8C-823E55554CC7}"/>
              </a:ext>
            </a:extLst>
          </p:cNvPr>
          <p:cNvSpPr/>
          <p:nvPr>
            <p:custDataLst>
              <p:tags r:id="rId5"/>
            </p:custDataLst>
          </p:nvPr>
        </p:nvSpPr>
        <p:spPr>
          <a:xfrm>
            <a:off x="3037094" y="651673"/>
            <a:ext cx="2122301"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ea typeface="+mn-ea"/>
              <a:cs typeface="+mn-cs"/>
            </a:endParaRPr>
          </a:p>
        </p:txBody>
      </p:sp>
      <p:cxnSp>
        <p:nvCxnSpPr>
          <p:cNvPr id="21" name="Přímá spojnice se šipkou 20">
            <a:extLst>
              <a:ext uri="{FF2B5EF4-FFF2-40B4-BE49-F238E27FC236}">
                <a16:creationId xmlns:a16="http://schemas.microsoft.com/office/drawing/2014/main" id="{F6A14AA8-AA93-446C-A445-994D899C7A0E}"/>
              </a:ext>
            </a:extLst>
          </p:cNvPr>
          <p:cNvCxnSpPr>
            <a:cxnSpLocks/>
          </p:cNvCxnSpPr>
          <p:nvPr>
            <p:custDataLst>
              <p:tags r:id="rId6"/>
            </p:custDataLst>
          </p:nvPr>
        </p:nvCxnSpPr>
        <p:spPr>
          <a:xfrm>
            <a:off x="4486836" y="2281090"/>
            <a:ext cx="0" cy="1185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B1F6BC51-20A9-4C7B-95BE-8F3D7B41BCFF}"/>
              </a:ext>
            </a:extLst>
          </p:cNvPr>
          <p:cNvCxnSpPr>
            <a:cxnSpLocks/>
          </p:cNvCxnSpPr>
          <p:nvPr>
            <p:custDataLst>
              <p:tags r:id="rId7"/>
            </p:custDataLst>
          </p:nvPr>
        </p:nvCxnSpPr>
        <p:spPr>
          <a:xfrm>
            <a:off x="3748716" y="1306135"/>
            <a:ext cx="0" cy="2927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Obdélník 25">
            <a:extLst>
              <a:ext uri="{FF2B5EF4-FFF2-40B4-BE49-F238E27FC236}">
                <a16:creationId xmlns:a16="http://schemas.microsoft.com/office/drawing/2014/main" id="{56BE7CCB-72FB-4FD9-853A-D05AEC7FC53A}"/>
              </a:ext>
            </a:extLst>
          </p:cNvPr>
          <p:cNvSpPr/>
          <p:nvPr>
            <p:custDataLst>
              <p:tags r:id="rId8"/>
            </p:custDataLst>
          </p:nvPr>
        </p:nvSpPr>
        <p:spPr>
          <a:xfrm>
            <a:off x="3960562" y="1626628"/>
            <a:ext cx="840440"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E8EB343B-FF9D-4901-9D18-93F29BAC2468}"/>
              </a:ext>
            </a:extLst>
          </p:cNvPr>
          <p:cNvCxnSpPr>
            <a:cxnSpLocks/>
          </p:cNvCxnSpPr>
          <p:nvPr>
            <p:custDataLst>
              <p:tags r:id="rId9"/>
            </p:custDataLst>
          </p:nvPr>
        </p:nvCxnSpPr>
        <p:spPr>
          <a:xfrm flipH="1">
            <a:off x="4972571" y="1793930"/>
            <a:ext cx="29112" cy="171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Obdélník 24">
            <a:extLst>
              <a:ext uri="{FF2B5EF4-FFF2-40B4-BE49-F238E27FC236}">
                <a16:creationId xmlns:a16="http://schemas.microsoft.com/office/drawing/2014/main" id="{2A7E2B17-91B3-4C5F-B3B7-EFFFC2937B60}"/>
              </a:ext>
            </a:extLst>
          </p:cNvPr>
          <p:cNvSpPr/>
          <p:nvPr>
            <p:custDataLst>
              <p:tags r:id="rId10"/>
            </p:custDataLst>
          </p:nvPr>
        </p:nvSpPr>
        <p:spPr>
          <a:xfrm>
            <a:off x="1171302" y="741344"/>
            <a:ext cx="1409070"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23" name="Obdélník 22">
            <a:extLst>
              <a:ext uri="{FF2B5EF4-FFF2-40B4-BE49-F238E27FC236}">
                <a16:creationId xmlns:a16="http://schemas.microsoft.com/office/drawing/2014/main" id="{C29877F7-C2EA-4475-B617-5F917406F66C}"/>
              </a:ext>
            </a:extLst>
          </p:cNvPr>
          <p:cNvSpPr/>
          <p:nvPr>
            <p:custDataLst>
              <p:tags r:id="rId11"/>
            </p:custDataLst>
          </p:nvPr>
        </p:nvSpPr>
        <p:spPr>
          <a:xfrm>
            <a:off x="5785566" y="650906"/>
            <a:ext cx="185693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1. 3. přerušení veškeré prezenční výuky</a:t>
            </a:r>
          </a:p>
        </p:txBody>
      </p:sp>
      <p:cxnSp>
        <p:nvCxnSpPr>
          <p:cNvPr id="24" name="Přímá spojnice se šipkou 23">
            <a:extLst>
              <a:ext uri="{FF2B5EF4-FFF2-40B4-BE49-F238E27FC236}">
                <a16:creationId xmlns:a16="http://schemas.microsoft.com/office/drawing/2014/main" id="{7151A9F4-9E2E-4CDF-88A5-D4FC74B7A17F}"/>
              </a:ext>
            </a:extLst>
          </p:cNvPr>
          <p:cNvCxnSpPr>
            <a:cxnSpLocks/>
          </p:cNvCxnSpPr>
          <p:nvPr>
            <p:custDataLst>
              <p:tags r:id="rId12"/>
            </p:custDataLst>
          </p:nvPr>
        </p:nvCxnSpPr>
        <p:spPr>
          <a:xfrm>
            <a:off x="7123994" y="1022216"/>
            <a:ext cx="0" cy="11677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D9D3501B-9CCD-4016-9F08-1143620FA781}"/>
              </a:ext>
            </a:extLst>
          </p:cNvPr>
          <p:cNvCxnSpPr>
            <a:cxnSpLocks/>
          </p:cNvCxnSpPr>
          <p:nvPr>
            <p:custDataLst>
              <p:tags r:id="rId13"/>
            </p:custDataLst>
          </p:nvPr>
        </p:nvCxnSpPr>
        <p:spPr>
          <a:xfrm>
            <a:off x="1928294" y="1397868"/>
            <a:ext cx="0" cy="7921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Šipka: dolů 6">
            <a:extLst>
              <a:ext uri="{FF2B5EF4-FFF2-40B4-BE49-F238E27FC236}">
                <a16:creationId xmlns:a16="http://schemas.microsoft.com/office/drawing/2014/main" id="{919292CF-A22D-4B76-8368-95740F0B7D9B}"/>
              </a:ext>
            </a:extLst>
          </p:cNvPr>
          <p:cNvSpPr/>
          <p:nvPr>
            <p:custDataLst>
              <p:tags r:id="rId14"/>
            </p:custDataLst>
          </p:nvPr>
        </p:nvSpPr>
        <p:spPr>
          <a:xfrm>
            <a:off x="10569137" y="2375156"/>
            <a:ext cx="229223" cy="2339999"/>
          </a:xfrm>
          <a:prstGeom prst="downArrow">
            <a:avLst>
              <a:gd name="adj1" fmla="val 35917"/>
              <a:gd name="adj2" fmla="val 7657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0" name="Šipka dolů 2">
            <a:extLst>
              <a:ext uri="{FF2B5EF4-FFF2-40B4-BE49-F238E27FC236}">
                <a16:creationId xmlns:a16="http://schemas.microsoft.com/office/drawing/2014/main" id="{A0980B37-2A81-424E-A65C-A842D0E0AC0A}"/>
              </a:ext>
            </a:extLst>
          </p:cNvPr>
          <p:cNvSpPr/>
          <p:nvPr>
            <p:custDataLst>
              <p:tags r:id="rId15"/>
            </p:custDataLst>
          </p:nvPr>
        </p:nvSpPr>
        <p:spPr>
          <a:xfrm>
            <a:off x="11311214" y="3985247"/>
            <a:ext cx="287920" cy="197344"/>
          </a:xfrm>
          <a:prstGeom prst="down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1" name="Šipka dolů 28">
            <a:extLst>
              <a:ext uri="{FF2B5EF4-FFF2-40B4-BE49-F238E27FC236}">
                <a16:creationId xmlns:a16="http://schemas.microsoft.com/office/drawing/2014/main" id="{7B291247-DCAB-4A57-8F29-0435D6305637}"/>
              </a:ext>
            </a:extLst>
          </p:cNvPr>
          <p:cNvSpPr/>
          <p:nvPr>
            <p:custDataLst>
              <p:tags r:id="rId16"/>
            </p:custDataLst>
          </p:nvPr>
        </p:nvSpPr>
        <p:spPr>
          <a:xfrm>
            <a:off x="11307257" y="3229653"/>
            <a:ext cx="287920" cy="197344"/>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Obdélník 28">
            <a:extLst>
              <a:ext uri="{FF2B5EF4-FFF2-40B4-BE49-F238E27FC236}">
                <a16:creationId xmlns:a16="http://schemas.microsoft.com/office/drawing/2014/main" id="{D054E74F-2C5B-4BF7-9ABA-AB41ACF2D464}"/>
              </a:ext>
            </a:extLst>
          </p:cNvPr>
          <p:cNvSpPr/>
          <p:nvPr>
            <p:custDataLst>
              <p:tags r:id="rId17"/>
            </p:custDataLst>
          </p:nvPr>
        </p:nvSpPr>
        <p:spPr>
          <a:xfrm>
            <a:off x="7536883" y="1667270"/>
            <a:ext cx="1428031" cy="70788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12. 4. otevřeny MŠ pro předškolní děti, návrat 1. stupně</a:t>
            </a:r>
            <a:r>
              <a:rPr kumimoji="0" lang="cs-CZ" sz="1000" b="1" i="1" u="none" strike="noStrike" kern="1200" cap="none" spc="0" normalizeH="0" noProof="0" dirty="0">
                <a:ln>
                  <a:noFill/>
                </a:ln>
                <a:solidFill>
                  <a:srgbClr val="000000"/>
                </a:solidFill>
                <a:effectLst/>
                <a:uLnTx/>
                <a:uFillTx/>
                <a:latin typeface="Arial" panose="020B0604020202020204"/>
                <a:ea typeface="+mn-ea"/>
                <a:cs typeface="+mn-cs"/>
              </a:rPr>
              <a:t> ZŠ v rotačním režimu</a:t>
            </a:r>
            <a:endPar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Obdélník 31">
            <a:extLst>
              <a:ext uri="{FF2B5EF4-FFF2-40B4-BE49-F238E27FC236}">
                <a16:creationId xmlns:a16="http://schemas.microsoft.com/office/drawing/2014/main" id="{0EB07235-BBE1-4B9F-AD03-8718AA9EF94A}"/>
              </a:ext>
            </a:extLst>
          </p:cNvPr>
          <p:cNvSpPr/>
          <p:nvPr>
            <p:custDataLst>
              <p:tags r:id="rId18"/>
            </p:custDataLst>
          </p:nvPr>
        </p:nvSpPr>
        <p:spPr>
          <a:xfrm>
            <a:off x="8033046" y="636633"/>
            <a:ext cx="2644819" cy="861774"/>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a:t>
            </a:r>
            <a:r>
              <a:rPr lang="cs-CZ" sz="1000" b="1" i="1" dirty="0">
                <a:solidFill>
                  <a:srgbClr val="000000"/>
                </a:solidFill>
              </a:rPr>
              <a:t>26. 4. MŠ otevřeny zcela, SŠ a VOŠ praktické vyučování v PLK, HKK, KVK </a:t>
            </a:r>
            <a:br>
              <a:rPr lang="cs-CZ" sz="1000" b="1" i="1" dirty="0">
                <a:solidFill>
                  <a:srgbClr val="000000"/>
                </a:solidFill>
              </a:rPr>
            </a:br>
            <a:r>
              <a:rPr lang="cs-CZ" sz="1000" b="1" i="1" dirty="0">
                <a:solidFill>
                  <a:srgbClr val="000000"/>
                </a:solidFill>
              </a:rPr>
              <a:t>od 3. 5. dále STC, LBK, PAK, PHA s rozšířením rotační výuky 2. st. ZŠ a od 10. 5. ve zbývajících krajích</a:t>
            </a:r>
          </a:p>
        </p:txBody>
      </p:sp>
      <p:sp>
        <p:nvSpPr>
          <p:cNvPr id="33" name="Obdélník 32">
            <a:extLst>
              <a:ext uri="{FF2B5EF4-FFF2-40B4-BE49-F238E27FC236}">
                <a16:creationId xmlns:a16="http://schemas.microsoft.com/office/drawing/2014/main" id="{EFCD62C0-B068-4F80-98E8-208B76B6FA27}"/>
              </a:ext>
            </a:extLst>
          </p:cNvPr>
          <p:cNvSpPr/>
          <p:nvPr>
            <p:custDataLst>
              <p:tags r:id="rId19"/>
            </p:custDataLst>
          </p:nvPr>
        </p:nvSpPr>
        <p:spPr>
          <a:xfrm>
            <a:off x="5001683" y="1145835"/>
            <a:ext cx="2122311" cy="70788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4. 1. pokračuje výuka pouze</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1000" b="1" i="1" dirty="0">
                <a:solidFill>
                  <a:srgbClr val="000000"/>
                </a:solidFill>
                <a:latin typeface="Arial" panose="020B0604020202020204"/>
              </a:rPr>
              <a:t>v MŠ a</a:t>
            </a: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 1. a 2. třídách ZŠ,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přípravných třídách, speciálních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a praktických školách</a:t>
            </a:r>
          </a:p>
        </p:txBody>
      </p:sp>
      <p:sp>
        <p:nvSpPr>
          <p:cNvPr id="34" name="Obdélník 33">
            <a:extLst>
              <a:ext uri="{FF2B5EF4-FFF2-40B4-BE49-F238E27FC236}">
                <a16:creationId xmlns:a16="http://schemas.microsoft.com/office/drawing/2014/main" id="{E1EDB432-3750-44DF-8475-8C304539F700}"/>
              </a:ext>
            </a:extLst>
          </p:cNvPr>
          <p:cNvSpPr/>
          <p:nvPr>
            <p:custDataLst>
              <p:tags r:id="rId20"/>
            </p:custDataLst>
          </p:nvPr>
        </p:nvSpPr>
        <p:spPr>
          <a:xfrm>
            <a:off x="9855121" y="1536242"/>
            <a:ext cx="1428031" cy="553998"/>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cs-CZ" sz="1000" b="1" i="1" dirty="0">
                <a:solidFill>
                  <a:srgbClr val="000000"/>
                </a:solidFill>
              </a:rPr>
              <a:t>Od 24. 5. otevřeny ZŠ, SŠ, VOŠ a VŠ bez rotací v celé ČR</a:t>
            </a:r>
          </a:p>
        </p:txBody>
      </p:sp>
    </p:spTree>
    <p:extLst>
      <p:ext uri="{BB962C8B-B14F-4D97-AF65-F5344CB8AC3E}">
        <p14:creationId xmlns:p14="http://schemas.microsoft.com/office/powerpoint/2010/main" val="3585533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Identifikovaná ohniska </a:t>
            </a:r>
            <a:br>
              <a:rPr lang="cs-CZ" dirty="0"/>
            </a:br>
            <a:r>
              <a:rPr lang="cs-CZ" dirty="0"/>
              <a:t>ve školských zařízení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075944" y="3763947"/>
            <a:ext cx="9869424" cy="1564690"/>
          </a:xfrm>
        </p:spPr>
        <p:txBody>
          <a:bodyPr>
            <a:normAutofit/>
          </a:bodyPr>
          <a:lstStyle/>
          <a:p>
            <a:r>
              <a:rPr lang="cs-CZ" sz="3800" b="1" dirty="0">
                <a:solidFill>
                  <a:schemeClr val="tx1"/>
                </a:solidFill>
              </a:rPr>
              <a:t>Školy jako identifikovaná ohniska nákazy </a:t>
            </a:r>
          </a:p>
          <a:p>
            <a:r>
              <a:rPr lang="cs-CZ" sz="3800" b="1" dirty="0">
                <a:solidFill>
                  <a:schemeClr val="tx1"/>
                </a:solidFill>
              </a:rPr>
              <a:t>- analýza trendů a rizik</a:t>
            </a:r>
          </a:p>
        </p:txBody>
      </p:sp>
      <p:sp>
        <p:nvSpPr>
          <p:cNvPr id="6" name="TextovéPole 5"/>
          <p:cNvSpPr txBox="1"/>
          <p:nvPr/>
        </p:nvSpPr>
        <p:spPr>
          <a:xfrm>
            <a:off x="2658737" y="5328637"/>
            <a:ext cx="6874526" cy="430887"/>
          </a:xfrm>
          <a:prstGeom prst="rect">
            <a:avLst/>
          </a:prstGeom>
          <a:solidFill>
            <a:schemeClr val="accent2"/>
          </a:solidFill>
        </p:spPr>
        <p:txBody>
          <a:bodyPr wrap="square" rtlCol="0">
            <a:spAutoFit/>
          </a:bodyPr>
          <a:lstStyle/>
          <a:p>
            <a:pPr algn="ctr"/>
            <a:r>
              <a:rPr lang="cs-CZ" sz="2200" b="1" dirty="0">
                <a:solidFill>
                  <a:schemeClr val="bg1"/>
                </a:solidFill>
              </a:rPr>
              <a:t>Zdroj: přímé zadání KHS o provedených šetřeních</a:t>
            </a:r>
          </a:p>
        </p:txBody>
      </p:sp>
    </p:spTree>
    <p:extLst>
      <p:ext uri="{BB962C8B-B14F-4D97-AF65-F5344CB8AC3E}">
        <p14:creationId xmlns:p14="http://schemas.microsoft.com/office/powerpoint/2010/main" val="18449600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délník 29">
            <a:extLst>
              <a:ext uri="{FF2B5EF4-FFF2-40B4-BE49-F238E27FC236}">
                <a16:creationId xmlns:a16="http://schemas.microsoft.com/office/drawing/2014/main" id="{E6ACDD12-6467-4385-81C4-9F633A8D10E6}"/>
              </a:ext>
            </a:extLst>
          </p:cNvPr>
          <p:cNvSpPr/>
          <p:nvPr>
            <p:custDataLst>
              <p:tags r:id="rId1"/>
            </p:custDataLst>
          </p:nvPr>
        </p:nvSpPr>
        <p:spPr>
          <a:xfrm>
            <a:off x="811851" y="3102123"/>
            <a:ext cx="6176178"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0" y="2620196"/>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ovéPole 23"/>
          <p:cNvSpPr txBox="1"/>
          <p:nvPr>
            <p:custDataLst>
              <p:tags r:id="rId3"/>
            </p:custDataLst>
          </p:nvPr>
        </p:nvSpPr>
        <p:spPr>
          <a:xfrm>
            <a:off x="448614" y="627423"/>
            <a:ext cx="1112104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4"/>
            </p:custDataLst>
          </p:nvPr>
        </p:nvSpPr>
        <p:spPr>
          <a:xfrm>
            <a:off x="271849" y="2"/>
            <a:ext cx="7825945" cy="576000"/>
          </a:xfrm>
        </p:spPr>
        <p:txBody>
          <a:bodyPr/>
          <a:lstStyle/>
          <a:p>
            <a:r>
              <a:rPr lang="cs-CZ" dirty="0"/>
              <a:t>Počty nově diagnostikovaných osob ve věku </a:t>
            </a:r>
            <a:r>
              <a:rPr lang="en-US" dirty="0"/>
              <a:t>0-</a:t>
            </a:r>
            <a:r>
              <a:rPr lang="cs-CZ" dirty="0"/>
              <a:t>4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5"/>
            </p:custDataLst>
          </p:nvPr>
        </p:nvSpPr>
        <p:spPr>
          <a:xfrm>
            <a:off x="9687082" y="3102123"/>
            <a:ext cx="2166561" cy="830997"/>
          </a:xfrm>
          <a:prstGeom prst="rect">
            <a:avLst/>
          </a:prstGeom>
          <a:noFill/>
        </p:spPr>
        <p:txBody>
          <a:bodyPr wrap="square" rtlCol="0">
            <a:spAutoFit/>
          </a:bodyPr>
          <a:lstStyle>
            <a:defPPr>
              <a:defRPr lang="cs-CZ"/>
            </a:defPPr>
            <a:lvl1pPr>
              <a:defRPr sz="2400" b="1"/>
            </a:lvl1pPr>
          </a:lstStyle>
          <a:p>
            <a:r>
              <a:rPr lang="cs-CZ" dirty="0"/>
              <a:t>Populace dětí 0-4 roky</a:t>
            </a:r>
          </a:p>
        </p:txBody>
      </p:sp>
      <p:sp>
        <p:nvSpPr>
          <p:cNvPr id="34" name="TextovéPole 33">
            <a:extLst>
              <a:ext uri="{FF2B5EF4-FFF2-40B4-BE49-F238E27FC236}">
                <a16:creationId xmlns:a16="http://schemas.microsoft.com/office/drawing/2014/main" id="{6B1CC858-7029-47A6-8946-1E30987D82E4}"/>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40" name="Zahnutá šipka nahoru 25">
            <a:extLst>
              <a:ext uri="{FF2B5EF4-FFF2-40B4-BE49-F238E27FC236}">
                <a16:creationId xmlns:a16="http://schemas.microsoft.com/office/drawing/2014/main" id="{B1BCF815-33A0-4F75-88AE-013A8999972F}"/>
              </a:ext>
            </a:extLst>
          </p:cNvPr>
          <p:cNvSpPr/>
          <p:nvPr>
            <p:custDataLst>
              <p:tags r:id="rId6"/>
            </p:custDataLst>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Zahnutá šipka nahoru 25">
            <a:extLst>
              <a:ext uri="{FF2B5EF4-FFF2-40B4-BE49-F238E27FC236}">
                <a16:creationId xmlns:a16="http://schemas.microsoft.com/office/drawing/2014/main" id="{E37994DA-54EB-4940-81A7-91CD0CA08A45}"/>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Zahnutá šipka nahoru 25">
            <a:extLst>
              <a:ext uri="{FF2B5EF4-FFF2-40B4-BE49-F238E27FC236}">
                <a16:creationId xmlns:a16="http://schemas.microsoft.com/office/drawing/2014/main" id="{C3EF3907-6269-46B8-B5A8-1B203ECF1AB3}"/>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Zahnutá šipka nahoru 25">
            <a:extLst>
              <a:ext uri="{FF2B5EF4-FFF2-40B4-BE49-F238E27FC236}">
                <a16:creationId xmlns:a16="http://schemas.microsoft.com/office/drawing/2014/main" id="{F9325EB1-9E85-44E6-B18D-09AAF911C0C6}"/>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Zahnutá šipka nahoru 25">
            <a:extLst>
              <a:ext uri="{FF2B5EF4-FFF2-40B4-BE49-F238E27FC236}">
                <a16:creationId xmlns:a16="http://schemas.microsoft.com/office/drawing/2014/main" id="{0FDD3C53-72D3-448F-87A7-55F0BDA300DA}"/>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137CAF51-7E86-4D20-8146-C5EBDFF5CB42}"/>
              </a:ext>
            </a:extLst>
          </p:cNvPr>
          <p:cNvGraphicFramePr>
            <a:graphicFrameLocks noGrp="1"/>
          </p:cNvGraphicFramePr>
          <p:nvPr>
            <p:custDataLst>
              <p:tags r:id="rId7"/>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25. 4.–1.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 5.–8.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77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6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47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9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3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9,5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4,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1,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0,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1,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1667610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délník 24">
            <a:extLst>
              <a:ext uri="{FF2B5EF4-FFF2-40B4-BE49-F238E27FC236}">
                <a16:creationId xmlns:a16="http://schemas.microsoft.com/office/drawing/2014/main" id="{7771785E-1E76-4F1F-AFF0-AB5E5EF6585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2"/>
            </p:custDataLst>
          </p:nvPr>
        </p:nvSpPr>
        <p:spPr>
          <a:xfrm>
            <a:off x="271849" y="2"/>
            <a:ext cx="7825945" cy="576000"/>
          </a:xfrm>
        </p:spPr>
        <p:txBody>
          <a:bodyPr/>
          <a:lstStyle/>
          <a:p>
            <a:r>
              <a:rPr lang="cs-CZ" dirty="0"/>
              <a:t>Počty nově diagnostikovaných osob ve věku 5</a:t>
            </a:r>
            <a:r>
              <a:rPr lang="en-US" dirty="0"/>
              <a:t>-</a:t>
            </a:r>
            <a:r>
              <a:rPr lang="cs-CZ" dirty="0"/>
              <a:t>11 let</a:t>
            </a:r>
          </a:p>
        </p:txBody>
      </p:sp>
      <p:sp>
        <p:nvSpPr>
          <p:cNvPr id="21" name="TextovéPole 20">
            <a:extLst>
              <a:ext uri="{FF2B5EF4-FFF2-40B4-BE49-F238E27FC236}">
                <a16:creationId xmlns:a16="http://schemas.microsoft.com/office/drawing/2014/main" id="{410E0339-70BC-441F-BDC9-A89C8DEC11D4}"/>
              </a:ext>
            </a:extLst>
          </p:cNvPr>
          <p:cNvSpPr txBox="1"/>
          <p:nvPr>
            <p:custDataLst>
              <p:tags r:id="rId3"/>
            </p:custDataLst>
          </p:nvPr>
        </p:nvSpPr>
        <p:spPr>
          <a:xfrm>
            <a:off x="462911" y="620335"/>
            <a:ext cx="1126617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3" name="TextovéPole 22">
            <a:extLst>
              <a:ext uri="{FF2B5EF4-FFF2-40B4-BE49-F238E27FC236}">
                <a16:creationId xmlns:a16="http://schemas.microsoft.com/office/drawing/2014/main" id="{01F8A1C5-1742-461E-85D7-5115B86DD12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Zahnutá šipka nahoru 25">
            <a:extLst>
              <a:ext uri="{FF2B5EF4-FFF2-40B4-BE49-F238E27FC236}">
                <a16:creationId xmlns:a16="http://schemas.microsoft.com/office/drawing/2014/main" id="{DA18C561-4914-4475-8A0C-C65C0E777D7A}"/>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6F3980B5-66B2-4913-BB3E-CCF0BAD6B9B4}"/>
              </a:ext>
            </a:extLst>
          </p:cNvPr>
          <p:cNvSpPr/>
          <p:nvPr>
            <p:custDataLst>
              <p:tags r:id="rId4"/>
            </p:custDataLst>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70C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30923041-6F28-413A-8066-C700FC3F032C}"/>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38FA5FD6-0032-46F6-87B7-CCD311EE9555}"/>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Zahnutá šipka nahoru 25">
            <a:extLst>
              <a:ext uri="{FF2B5EF4-FFF2-40B4-BE49-F238E27FC236}">
                <a16:creationId xmlns:a16="http://schemas.microsoft.com/office/drawing/2014/main" id="{4B96C186-212B-460F-9197-A90216E3E96B}"/>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C309ABC-D1A3-4416-995F-7C625F373C13}"/>
              </a:ext>
            </a:extLst>
          </p:cNvPr>
          <p:cNvGraphicFramePr>
            <a:graphicFrameLocks noGrp="1"/>
          </p:cNvGraphicFramePr>
          <p:nvPr>
            <p:custDataLst>
              <p:tags r:id="rId5"/>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25. 4.–1.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 5.–8.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16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35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8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7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5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9,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4,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8,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7,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2,7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graphicFrame>
        <p:nvGraphicFramePr>
          <p:cNvPr id="39" name="Chart 4">
            <a:extLst>
              <a:ext uri="{FF2B5EF4-FFF2-40B4-BE49-F238E27FC236}">
                <a16:creationId xmlns:a16="http://schemas.microsoft.com/office/drawing/2014/main" id="{F3B3A751-5826-48A2-8A63-61032D0536F8}"/>
              </a:ext>
            </a:extLst>
          </p:cNvPr>
          <p:cNvGraphicFramePr/>
          <p:nvPr>
            <p:custDataLst>
              <p:tags r:id="rId6"/>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ovéPole 21">
            <a:extLst>
              <a:ext uri="{FF2B5EF4-FFF2-40B4-BE49-F238E27FC236}">
                <a16:creationId xmlns:a16="http://schemas.microsoft.com/office/drawing/2014/main" id="{C3C7B102-51CF-40DA-86E3-19AB93DE7FE7}"/>
              </a:ext>
            </a:extLst>
          </p:cNvPr>
          <p:cNvSpPr txBox="1"/>
          <p:nvPr>
            <p:custDataLst>
              <p:tags r:id="rId7"/>
            </p:custDataLst>
          </p:nvPr>
        </p:nvSpPr>
        <p:spPr>
          <a:xfrm>
            <a:off x="9624314" y="3085620"/>
            <a:ext cx="2234170" cy="830997"/>
          </a:xfrm>
          <a:prstGeom prst="rect">
            <a:avLst/>
          </a:prstGeom>
          <a:noFill/>
        </p:spPr>
        <p:txBody>
          <a:bodyPr wrap="square" rtlCol="0">
            <a:spAutoFit/>
          </a:bodyPr>
          <a:lstStyle>
            <a:defPPr>
              <a:defRPr lang="cs-CZ"/>
            </a:defPPr>
            <a:lvl1pPr>
              <a:defRPr sz="2400" b="1"/>
            </a:lvl1pPr>
          </a:lstStyle>
          <a:p>
            <a:r>
              <a:rPr lang="cs-CZ" dirty="0"/>
              <a:t>Populace dětí 5-11 let</a:t>
            </a:r>
          </a:p>
        </p:txBody>
      </p:sp>
    </p:spTree>
    <p:extLst>
      <p:ext uri="{BB962C8B-B14F-4D97-AF65-F5344CB8AC3E}">
        <p14:creationId xmlns:p14="http://schemas.microsoft.com/office/powerpoint/2010/main" val="26396404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bdélník 32">
            <a:extLst>
              <a:ext uri="{FF2B5EF4-FFF2-40B4-BE49-F238E27FC236}">
                <a16:creationId xmlns:a16="http://schemas.microsoft.com/office/drawing/2014/main" id="{8E4246FF-A788-4C34-B433-227B296DBAF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11"/>
          </a:graphicData>
        </a:graphic>
      </p:graphicFrame>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3"/>
            </p:custDataLst>
          </p:nvPr>
        </p:nvSpPr>
        <p:spPr>
          <a:xfrm>
            <a:off x="104627" y="2"/>
            <a:ext cx="8144852" cy="576000"/>
          </a:xfrm>
        </p:spPr>
        <p:txBody>
          <a:bodyPr/>
          <a:lstStyle/>
          <a:p>
            <a:r>
              <a:rPr lang="cs-CZ" dirty="0"/>
              <a:t>Počty nově diagnostikovaných osob ve věku 12</a:t>
            </a:r>
            <a:r>
              <a:rPr lang="en-US" dirty="0"/>
              <a:t>-</a:t>
            </a:r>
            <a:r>
              <a:rPr lang="cs-CZ" dirty="0"/>
              <a:t>19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4"/>
            </p:custDataLst>
          </p:nvPr>
        </p:nvSpPr>
        <p:spPr>
          <a:xfrm>
            <a:off x="9681376" y="3013501"/>
            <a:ext cx="2190625" cy="830997"/>
          </a:xfrm>
          <a:prstGeom prst="rect">
            <a:avLst/>
          </a:prstGeom>
          <a:noFill/>
        </p:spPr>
        <p:txBody>
          <a:bodyPr wrap="square" rtlCol="0">
            <a:spAutoFit/>
          </a:bodyPr>
          <a:lstStyle>
            <a:defPPr>
              <a:defRPr lang="cs-CZ"/>
            </a:defPPr>
            <a:lvl1pPr>
              <a:defRPr sz="2400" b="1"/>
            </a:lvl1pPr>
          </a:lstStyle>
          <a:p>
            <a:r>
              <a:rPr lang="cs-CZ" dirty="0"/>
              <a:t>Populace dětí 12-19 let</a:t>
            </a:r>
          </a:p>
        </p:txBody>
      </p:sp>
      <p:sp>
        <p:nvSpPr>
          <p:cNvPr id="21" name="TextovéPole 20">
            <a:extLst>
              <a:ext uri="{FF2B5EF4-FFF2-40B4-BE49-F238E27FC236}">
                <a16:creationId xmlns:a16="http://schemas.microsoft.com/office/drawing/2014/main" id="{424FCD30-F9F7-470C-9C6E-46F0738D959D}"/>
              </a:ext>
            </a:extLst>
          </p:cNvPr>
          <p:cNvSpPr txBox="1"/>
          <p:nvPr>
            <p:custDataLst>
              <p:tags r:id="rId5"/>
            </p:custDataLst>
          </p:nvPr>
        </p:nvSpPr>
        <p:spPr>
          <a:xfrm>
            <a:off x="305937" y="606478"/>
            <a:ext cx="11293642"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tx2"/>
                </a:solidFill>
              </a:rPr>
              <a:t>pokračující pokles </a:t>
            </a:r>
            <a:r>
              <a:rPr lang="cs-CZ" sz="2000" b="1" dirty="0">
                <a:solidFill>
                  <a:schemeClr val="accent1"/>
                </a:solidFill>
              </a:rPr>
              <a:t>výskytu nemoci </a:t>
            </a:r>
          </a:p>
        </p:txBody>
      </p:sp>
      <p:sp>
        <p:nvSpPr>
          <p:cNvPr id="23" name="TextovéPole 22">
            <a:extLst>
              <a:ext uri="{FF2B5EF4-FFF2-40B4-BE49-F238E27FC236}">
                <a16:creationId xmlns:a16="http://schemas.microsoft.com/office/drawing/2014/main" id="{A9591DC1-1F7A-44F4-9E46-02A5F2613E8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5" name="Zahnutá šipka nahoru 25">
            <a:extLst>
              <a:ext uri="{FF2B5EF4-FFF2-40B4-BE49-F238E27FC236}">
                <a16:creationId xmlns:a16="http://schemas.microsoft.com/office/drawing/2014/main" id="{D48FE9F4-A6AC-482E-9C28-6EC90CBE2926}"/>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Zahnutá šipka nahoru 25">
            <a:extLst>
              <a:ext uri="{FF2B5EF4-FFF2-40B4-BE49-F238E27FC236}">
                <a16:creationId xmlns:a16="http://schemas.microsoft.com/office/drawing/2014/main" id="{76A23506-0768-4602-B285-9F33ED088884}"/>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18DDEDDE-D08E-47BE-837F-AD63B4CB1859}"/>
              </a:ext>
            </a:extLst>
          </p:cNvPr>
          <p:cNvSpPr/>
          <p:nvPr>
            <p:custDataLst>
              <p:tags r:id="rId6"/>
            </p:custDataLst>
          </p:nvPr>
        </p:nvSpPr>
        <p:spPr>
          <a:xfrm>
            <a:off x="5116865" y="2475801"/>
            <a:ext cx="1944000" cy="497840"/>
          </a:xfrm>
          <a:prstGeom prst="curvedUpArrow">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2293B4B4-5766-471B-854D-22AC057555D6}"/>
              </a:ext>
            </a:extLst>
          </p:cNvPr>
          <p:cNvSpPr/>
          <p:nvPr>
            <p:custDataLst>
              <p:tags r:id="rId7"/>
            </p:custDataLst>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76D266AD-CD55-4F8B-9D87-384FC06895D0}"/>
              </a:ext>
            </a:extLst>
          </p:cNvPr>
          <p:cNvSpPr/>
          <p:nvPr>
            <p:custDataLst>
              <p:tags r:id="rId8"/>
            </p:custDataLst>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A9A7FF8-044F-43CE-8519-5F1F89257060}"/>
              </a:ext>
            </a:extLst>
          </p:cNvPr>
          <p:cNvGraphicFramePr>
            <a:graphicFrameLocks noGrp="1"/>
          </p:cNvGraphicFramePr>
          <p:nvPr>
            <p:custDataLst>
              <p:tags r:id="rId9"/>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25. 4.–1.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 5.–8.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179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3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9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73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1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2,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0,4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4,0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3,3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8,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3333349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08473" y="238761"/>
            <a:ext cx="11567710" cy="31085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strike="noStrike" kern="1200" cap="none" spc="0" normalizeH="0" baseline="0" noProof="0" dirty="0">
                <a:ln>
                  <a:noFill/>
                </a:ln>
                <a:effectLst/>
                <a:uLnTx/>
                <a:uFillTx/>
                <a:latin typeface="Calibri" panose="020F0502020204030204"/>
              </a:rPr>
              <a:t>Školy</a:t>
            </a:r>
            <a:r>
              <a:rPr kumimoji="0" lang="cs-CZ" sz="2800" b="1" i="0" strike="noStrike" kern="1200" cap="none" spc="0" normalizeH="0" noProof="0" dirty="0">
                <a:ln>
                  <a:noFill/>
                </a:ln>
                <a:effectLst/>
                <a:uLnTx/>
                <a:uFillTx/>
                <a:latin typeface="Calibri" panose="020F0502020204030204"/>
              </a:rPr>
              <a:t> tvoří dle šetření krajských hygienických stanic v celkovém dlouhodobém přehledu významný počet ohnisek nákazy COVID-19, </a:t>
            </a:r>
          </a:p>
          <a:p>
            <a:pPr lvl="0" algn="ctr">
              <a:defRPr/>
            </a:pPr>
            <a:r>
              <a:rPr kumimoji="0" lang="cs-CZ" sz="2800" b="1" i="0" strike="noStrike" kern="1200" cap="none" spc="0" normalizeH="0" noProof="0" dirty="0">
                <a:ln>
                  <a:noFill/>
                </a:ln>
                <a:effectLst/>
                <a:uLnTx/>
                <a:uFillTx/>
                <a:latin typeface="Calibri" panose="020F0502020204030204"/>
              </a:rPr>
              <a:t>v absolutním počtu jde o nejčastější typ ohniska. </a:t>
            </a:r>
            <a:r>
              <a:rPr lang="cs-CZ" sz="2800" b="1" dirty="0">
                <a:latin typeface="Calibri" panose="020F0502020204030204"/>
              </a:rPr>
              <a:t>Počty zachycených ohnisek mohou být ovlivněny jejich dosažitelností při epidemiologickém šetření. Uzavřené komunity typu škola, sociální zařízení nebo velký výrobní závod jsou snadněji identifikovatelné než volnočasové aktivity nebo otevřené provozy typu knihovna či restaurace. </a:t>
            </a:r>
            <a:endParaRPr kumimoji="0" lang="cs-CZ" sz="2800" b="0" i="0" strike="noStrike" kern="1200" cap="none" spc="0" normalizeH="0" baseline="0" noProof="0" dirty="0">
              <a:ln>
                <a:noFill/>
              </a:ln>
              <a:effectLst/>
              <a:uLnTx/>
              <a:uFillTx/>
              <a:latin typeface="Calibri" panose="020F0502020204030204"/>
            </a:endParaRPr>
          </a:p>
        </p:txBody>
      </p:sp>
      <p:sp>
        <p:nvSpPr>
          <p:cNvPr id="7" name="TextovéPole 6"/>
          <p:cNvSpPr txBox="1"/>
          <p:nvPr/>
        </p:nvSpPr>
        <p:spPr>
          <a:xfrm>
            <a:off x="439239" y="4479491"/>
            <a:ext cx="11344275" cy="2092881"/>
          </a:xfrm>
          <a:prstGeom prst="rect">
            <a:avLst/>
          </a:prstGeom>
          <a:noFill/>
        </p:spPr>
        <p:txBody>
          <a:bodyPr wrap="square" rtlCol="0">
            <a:spAutoFit/>
          </a:bodyPr>
          <a:lstStyle/>
          <a:p>
            <a:pPr lvl="0" algn="ctr">
              <a:defRPr/>
            </a:pPr>
            <a:r>
              <a:rPr lang="cs-CZ" sz="2600" b="1" dirty="0">
                <a:solidFill>
                  <a:srgbClr val="C00000"/>
                </a:solidFill>
                <a:latin typeface="Calibri" panose="020F0502020204030204"/>
              </a:rPr>
              <a:t>Hlášení o epidemických událostech a ohniscích je plně pod metodickou kontrolou a kuratelou expertů KHS. Tato prezentace pouze shrnuje jimi provedená hlášení. Z hlediska velikosti hlásí KHS události a ohniska spíše malá, průměrně 4,6 identifikovaných pozitivních případů na jedno zařízení. Důvodem může být dobrá sledovatelnost šíření nákazy vedoucí k včasnému podchycení ohnisek. </a:t>
            </a:r>
            <a:endParaRPr kumimoji="0" lang="cs-CZ" sz="26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nvSpPr>
        <p:spPr>
          <a:xfrm>
            <a:off x="5636427" y="3397608"/>
            <a:ext cx="911800" cy="86907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540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ADB110BF-7609-4955-8101-C7F7C0DAC6B0}"/>
              </a:ext>
            </a:extLst>
          </p:cNvPr>
          <p:cNvGraphicFramePr>
            <a:graphicFrameLocks noGrp="1"/>
          </p:cNvGraphicFramePr>
          <p:nvPr>
            <p:extLst>
              <p:ext uri="{D42A27DB-BD31-4B8C-83A1-F6EECF244321}">
                <p14:modId xmlns:p14="http://schemas.microsoft.com/office/powerpoint/2010/main" val="1168933127"/>
              </p:ext>
            </p:extLst>
          </p:nvPr>
        </p:nvGraphicFramePr>
        <p:xfrm>
          <a:off x="10191749" y="2086768"/>
          <a:ext cx="1339223" cy="3690010"/>
        </p:xfrm>
        <a:graphic>
          <a:graphicData uri="http://schemas.openxmlformats.org/drawingml/2006/table">
            <a:tbl>
              <a:tblPr/>
              <a:tblGrid>
                <a:gridCol w="1339223">
                  <a:extLst>
                    <a:ext uri="{9D8B030D-6E8A-4147-A177-3AD203B41FA5}">
                      <a16:colId xmlns:a16="http://schemas.microsoft.com/office/drawing/2014/main" val="1275379623"/>
                    </a:ext>
                  </a:extLst>
                </a:gridCol>
              </a:tblGrid>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375"/>
                    </a:solidFill>
                  </a:tcPr>
                </a:tc>
                <a:extLst>
                  <a:ext uri="{0D108BD9-81ED-4DB2-BD59-A6C34878D82A}">
                    <a16:rowId xmlns:a16="http://schemas.microsoft.com/office/drawing/2014/main" val="653615271"/>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FD2"/>
                    </a:solidFill>
                  </a:tcPr>
                </a:tc>
                <a:extLst>
                  <a:ext uri="{0D108BD9-81ED-4DB2-BD59-A6C34878D82A}">
                    <a16:rowId xmlns:a16="http://schemas.microsoft.com/office/drawing/2014/main" val="3053071327"/>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extLst>
                  <a:ext uri="{0D108BD9-81ED-4DB2-BD59-A6C34878D82A}">
                    <a16:rowId xmlns:a16="http://schemas.microsoft.com/office/drawing/2014/main" val="370782951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extLst>
                  <a:ext uri="{0D108BD9-81ED-4DB2-BD59-A6C34878D82A}">
                    <a16:rowId xmlns:a16="http://schemas.microsoft.com/office/drawing/2014/main" val="397114952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EB1"/>
                    </a:solidFill>
                  </a:tcPr>
                </a:tc>
                <a:extLst>
                  <a:ext uri="{0D108BD9-81ED-4DB2-BD59-A6C34878D82A}">
                    <a16:rowId xmlns:a16="http://schemas.microsoft.com/office/drawing/2014/main" val="1163913202"/>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DAF"/>
                    </a:solidFill>
                  </a:tcPr>
                </a:tc>
                <a:extLst>
                  <a:ext uri="{0D108BD9-81ED-4DB2-BD59-A6C34878D82A}">
                    <a16:rowId xmlns:a16="http://schemas.microsoft.com/office/drawing/2014/main" val="4135755528"/>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FC2"/>
                    </a:solidFill>
                  </a:tcPr>
                </a:tc>
                <a:extLst>
                  <a:ext uri="{0D108BD9-81ED-4DB2-BD59-A6C34878D82A}">
                    <a16:rowId xmlns:a16="http://schemas.microsoft.com/office/drawing/2014/main" val="1073021946"/>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BBE"/>
                    </a:solidFill>
                  </a:tcPr>
                </a:tc>
                <a:extLst>
                  <a:ext uri="{0D108BD9-81ED-4DB2-BD59-A6C34878D82A}">
                    <a16:rowId xmlns:a16="http://schemas.microsoft.com/office/drawing/2014/main" val="3978621265"/>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1214279393"/>
                  </a:ext>
                </a:extLst>
              </a:tr>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B9E"/>
                    </a:solidFill>
                  </a:tcPr>
                </a:tc>
                <a:extLst>
                  <a:ext uri="{0D108BD9-81ED-4DB2-BD59-A6C34878D82A}">
                    <a16:rowId xmlns:a16="http://schemas.microsoft.com/office/drawing/2014/main" val="1725570682"/>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Školská zařízení se zaznamenanými </a:t>
            </a:r>
            <a:r>
              <a:rPr lang="cs-CZ" dirty="0" smtClean="0"/>
              <a:t>ohnisky (událostmi)</a:t>
            </a:r>
            <a:endParaRPr lang="cs-CZ" dirty="0"/>
          </a:p>
        </p:txBody>
      </p:sp>
      <p:sp>
        <p:nvSpPr>
          <p:cNvPr id="13" name="TextovéPole 12">
            <a:extLst>
              <a:ext uri="{FF2B5EF4-FFF2-40B4-BE49-F238E27FC236}">
                <a16:creationId xmlns:a16="http://schemas.microsoft.com/office/drawing/2014/main" id="{718A33BA-9E34-432F-B324-1B1C0D17CF23}"/>
              </a:ext>
            </a:extLst>
          </p:cNvPr>
          <p:cNvSpPr txBox="1"/>
          <p:nvPr/>
        </p:nvSpPr>
        <p:spPr>
          <a:xfrm>
            <a:off x="4512618" y="6583916"/>
            <a:ext cx="3547541" cy="246221"/>
          </a:xfrm>
          <a:prstGeom prst="rect">
            <a:avLst/>
          </a:prstGeom>
          <a:noFill/>
        </p:spPr>
        <p:txBody>
          <a:bodyPr wrap="square" rtlCol="0">
            <a:spAutoFit/>
          </a:bodyPr>
          <a:lstStyle/>
          <a:p>
            <a:pPr algn="ctr"/>
            <a:r>
              <a:rPr lang="cs-CZ" sz="1000" dirty="0"/>
              <a:t>Zdroj: </a:t>
            </a:r>
            <a:r>
              <a:rPr lang="cs-CZ" sz="1000" dirty="0" err="1"/>
              <a:t>Covid</a:t>
            </a:r>
            <a:r>
              <a:rPr lang="cs-CZ" sz="1000" dirty="0"/>
              <a:t> </a:t>
            </a:r>
            <a:r>
              <a:rPr lang="cs-CZ" sz="1000" dirty="0" err="1"/>
              <a:t>Forms</a:t>
            </a:r>
            <a:r>
              <a:rPr lang="cs-CZ" sz="1000" dirty="0"/>
              <a:t> – Události, </a:t>
            </a:r>
            <a:r>
              <a:rPr lang="cs-CZ" sz="1000" b="1" dirty="0">
                <a:solidFill>
                  <a:srgbClr val="C00000"/>
                </a:solidFill>
              </a:rPr>
              <a:t>stav k 4. 6. 2021</a:t>
            </a:r>
          </a:p>
        </p:txBody>
      </p:sp>
      <p:graphicFrame>
        <p:nvGraphicFramePr>
          <p:cNvPr id="4" name="Tabulka 3">
            <a:extLst>
              <a:ext uri="{FF2B5EF4-FFF2-40B4-BE49-F238E27FC236}">
                <a16:creationId xmlns:a16="http://schemas.microsoft.com/office/drawing/2014/main" id="{D5EFF049-09B6-4B10-AA66-8BEE523CFAB7}"/>
              </a:ext>
            </a:extLst>
          </p:cNvPr>
          <p:cNvGraphicFramePr>
            <a:graphicFrameLocks noGrp="1"/>
          </p:cNvGraphicFramePr>
          <p:nvPr>
            <p:extLst>
              <p:ext uri="{D42A27DB-BD31-4B8C-83A1-F6EECF244321}">
                <p14:modId xmlns:p14="http://schemas.microsoft.com/office/powerpoint/2010/main" val="3667859027"/>
              </p:ext>
            </p:extLst>
          </p:nvPr>
        </p:nvGraphicFramePr>
        <p:xfrm>
          <a:off x="661026" y="1355894"/>
          <a:ext cx="10869947" cy="4420884"/>
        </p:xfrm>
        <a:graphic>
          <a:graphicData uri="http://schemas.openxmlformats.org/drawingml/2006/table">
            <a:tbl>
              <a:tblPr/>
              <a:tblGrid>
                <a:gridCol w="2888315">
                  <a:extLst>
                    <a:ext uri="{9D8B030D-6E8A-4147-A177-3AD203B41FA5}">
                      <a16:colId xmlns:a16="http://schemas.microsoft.com/office/drawing/2014/main" val="2599872795"/>
                    </a:ext>
                  </a:extLst>
                </a:gridCol>
                <a:gridCol w="1330272">
                  <a:extLst>
                    <a:ext uri="{9D8B030D-6E8A-4147-A177-3AD203B41FA5}">
                      <a16:colId xmlns:a16="http://schemas.microsoft.com/office/drawing/2014/main" val="3049717735"/>
                    </a:ext>
                  </a:extLst>
                </a:gridCol>
                <a:gridCol w="1330272">
                  <a:extLst>
                    <a:ext uri="{9D8B030D-6E8A-4147-A177-3AD203B41FA5}">
                      <a16:colId xmlns:a16="http://schemas.microsoft.com/office/drawing/2014/main" val="6431068"/>
                    </a:ext>
                  </a:extLst>
                </a:gridCol>
                <a:gridCol w="1330272">
                  <a:extLst>
                    <a:ext uri="{9D8B030D-6E8A-4147-A177-3AD203B41FA5}">
                      <a16:colId xmlns:a16="http://schemas.microsoft.com/office/drawing/2014/main" val="2811313652"/>
                    </a:ext>
                  </a:extLst>
                </a:gridCol>
                <a:gridCol w="1330272">
                  <a:extLst>
                    <a:ext uri="{9D8B030D-6E8A-4147-A177-3AD203B41FA5}">
                      <a16:colId xmlns:a16="http://schemas.microsoft.com/office/drawing/2014/main" val="248261970"/>
                    </a:ext>
                  </a:extLst>
                </a:gridCol>
                <a:gridCol w="1330272">
                  <a:extLst>
                    <a:ext uri="{9D8B030D-6E8A-4147-A177-3AD203B41FA5}">
                      <a16:colId xmlns:a16="http://schemas.microsoft.com/office/drawing/2014/main" val="3807870373"/>
                    </a:ext>
                  </a:extLst>
                </a:gridCol>
                <a:gridCol w="1330272">
                  <a:extLst>
                    <a:ext uri="{9D8B030D-6E8A-4147-A177-3AD203B41FA5}">
                      <a16:colId xmlns:a16="http://schemas.microsoft.com/office/drawing/2014/main" val="4111232725"/>
                    </a:ext>
                  </a:extLst>
                </a:gridCol>
              </a:tblGrid>
              <a:tr h="368407">
                <a:tc>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1" u="none" strike="noStrike" dirty="0">
                          <a:solidFill>
                            <a:srgbClr val="000000"/>
                          </a:solidFill>
                          <a:effectLst/>
                          <a:latin typeface="Calibri" panose="020F0502020204030204" pitchFamily="34" charset="0"/>
                        </a:rPr>
                        <a:t>Počet zařízení podle MŠMT*</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fontAlgn="ctr"/>
                      <a:r>
                        <a:rPr lang="cs-CZ" sz="1400" b="1" i="0" u="none" strike="noStrike" dirty="0">
                          <a:solidFill>
                            <a:srgbClr val="000000"/>
                          </a:solidFill>
                          <a:effectLst/>
                          <a:latin typeface="Calibri" panose="020F0502020204030204" pitchFamily="34" charset="0"/>
                        </a:rPr>
                        <a:t>S jedním ohnis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fontAlgn="ctr"/>
                      <a:r>
                        <a:rPr lang="cs-CZ" sz="1400" b="1" i="0" u="none" strike="noStrike" dirty="0">
                          <a:solidFill>
                            <a:srgbClr val="000000"/>
                          </a:solidFill>
                          <a:effectLst/>
                          <a:latin typeface="Calibri" panose="020F0502020204030204" pitchFamily="34" charset="0"/>
                        </a:rPr>
                        <a:t>S více ohnisky</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cs-CZ" sz="1400" b="1" i="0" u="none" strike="noStrike" dirty="0">
                          <a:solidFill>
                            <a:srgbClr val="000000"/>
                          </a:solidFill>
                          <a:effectLst/>
                          <a:latin typeface="Calibri" panose="020F0502020204030204" pitchFamily="34" charset="0"/>
                        </a:rPr>
                        <a:t>S nákazou 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7450341"/>
                  </a:ext>
                </a:extLst>
              </a:tr>
              <a:tr h="36840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cs-CZ" sz="1200" b="0" i="1"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2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3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4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605662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 2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64 (33,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6 (1,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 116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743269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1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3 (12,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3 (1,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80 (13,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70067371"/>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2,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8 (36,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38064380"/>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5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32 (29,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0 (1,6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0,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784 (31,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3142353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2906204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 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11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 (1,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22 (21,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14366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 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0 (15,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1,5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2 (16,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995357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98478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Ostat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5406907"/>
                  </a:ext>
                </a:extLst>
              </a:tr>
              <a:tr h="368407">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9 7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 335 (24,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22 (1,3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0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3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2 480 (25,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7811852"/>
                  </a:ext>
                </a:extLst>
              </a:tr>
            </a:tbl>
          </a:graphicData>
        </a:graphic>
      </p:graphicFrame>
      <p:sp>
        <p:nvSpPr>
          <p:cNvPr id="15" name="TextovéPole 14">
            <a:extLst>
              <a:ext uri="{FF2B5EF4-FFF2-40B4-BE49-F238E27FC236}">
                <a16:creationId xmlns:a16="http://schemas.microsoft.com/office/drawing/2014/main" id="{2F40CCD3-2534-4B34-B55A-068C7356F5EE}"/>
              </a:ext>
            </a:extLst>
          </p:cNvPr>
          <p:cNvSpPr txBox="1"/>
          <p:nvPr/>
        </p:nvSpPr>
        <p:spPr>
          <a:xfrm>
            <a:off x="661026" y="5873546"/>
            <a:ext cx="8303746" cy="261610"/>
          </a:xfrm>
          <a:prstGeom prst="rect">
            <a:avLst/>
          </a:prstGeom>
          <a:noFill/>
        </p:spPr>
        <p:txBody>
          <a:bodyPr wrap="square" rtlCol="0">
            <a:spAutoFit/>
          </a:bodyPr>
          <a:lstStyle/>
          <a:p>
            <a:pPr lvl="0">
              <a:defRPr/>
            </a:pPr>
            <a:r>
              <a:rPr lang="cs-CZ" sz="1100" dirty="0">
                <a:solidFill>
                  <a:srgbClr val="000000"/>
                </a:solidFill>
              </a:rPr>
              <a:t>* MŠMT, Rejstřík škol a školských zařízení - celá ČR, https://data.msmt.cz/dataset/rejstrik-skol-a-skolskych-zarizeni-cela-cr </a:t>
            </a:r>
            <a:endParaRPr kumimoji="0" lang="cs-CZ" sz="1100"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0" name="Obdélník 9">
            <a:extLst>
              <a:ext uri="{FF2B5EF4-FFF2-40B4-BE49-F238E27FC236}">
                <a16:creationId xmlns:a16="http://schemas.microsoft.com/office/drawing/2014/main" id="{99F54960-2503-4955-B58B-4E9FADFC0763}"/>
              </a:ext>
            </a:extLst>
          </p:cNvPr>
          <p:cNvSpPr/>
          <p:nvPr/>
        </p:nvSpPr>
        <p:spPr>
          <a:xfrm>
            <a:off x="624847" y="889794"/>
            <a:ext cx="7143749" cy="369332"/>
          </a:xfrm>
          <a:prstGeom prst="rect">
            <a:avLst/>
          </a:prstGeom>
        </p:spPr>
        <p:txBody>
          <a:bodyPr wrap="square">
            <a:spAutoFit/>
          </a:bodyPr>
          <a:lstStyle/>
          <a:p>
            <a:pPr fontAlgn="ctr"/>
            <a:r>
              <a:rPr lang="cs-CZ" b="1" dirty="0"/>
              <a:t>Celkový přehled za období 03/2020 – 06/2021 k 4. 6.</a:t>
            </a:r>
          </a:p>
        </p:txBody>
      </p:sp>
    </p:spTree>
    <p:extLst>
      <p:ext uri="{BB962C8B-B14F-4D97-AF65-F5344CB8AC3E}">
        <p14:creationId xmlns:p14="http://schemas.microsoft.com/office/powerpoint/2010/main" val="39563362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50F9AA9B-EA35-477F-AD14-53CEF00C4E57}"/>
              </a:ext>
            </a:extLst>
          </p:cNvPr>
          <p:cNvGraphicFramePr>
            <a:graphicFrameLocks noGrp="1"/>
          </p:cNvGraphicFramePr>
          <p:nvPr>
            <p:extLst>
              <p:ext uri="{D42A27DB-BD31-4B8C-83A1-F6EECF244321}">
                <p14:modId xmlns:p14="http://schemas.microsoft.com/office/powerpoint/2010/main" val="162074252"/>
              </p:ext>
            </p:extLst>
          </p:nvPr>
        </p:nvGraphicFramePr>
        <p:xfrm>
          <a:off x="10920888" y="1572129"/>
          <a:ext cx="909162" cy="4895982"/>
        </p:xfrm>
        <a:graphic>
          <a:graphicData uri="http://schemas.openxmlformats.org/drawingml/2006/table">
            <a:tbl>
              <a:tblPr/>
              <a:tblGrid>
                <a:gridCol w="909162">
                  <a:extLst>
                    <a:ext uri="{9D8B030D-6E8A-4147-A177-3AD203B41FA5}">
                      <a16:colId xmlns:a16="http://schemas.microsoft.com/office/drawing/2014/main" val="1431428022"/>
                    </a:ext>
                  </a:extLst>
                </a:gridCol>
              </a:tblGrid>
              <a:tr h="188307">
                <a:tc>
                  <a:txBody>
                    <a:bodyPr/>
                    <a:lstStyle/>
                    <a:p>
                      <a:pPr algn="ctr" fontAlgn="ctr"/>
                      <a:r>
                        <a:rPr lang="cs-CZ" sz="1200" b="1" i="1" u="none" strike="noStrike">
                          <a:solidFill>
                            <a:srgbClr val="000000"/>
                          </a:solidFill>
                          <a:effectLst/>
                          <a:latin typeface="Calibri" panose="020F0502020204030204" pitchFamily="34" charset="0"/>
                        </a:rPr>
                        <a:t>4,6</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939524529"/>
                  </a:ext>
                </a:extLst>
              </a:tr>
              <a:tr h="188307">
                <a:tc>
                  <a:txBody>
                    <a:bodyPr/>
                    <a:lstStyle/>
                    <a:p>
                      <a:pPr algn="ctr" fontAlgn="ctr"/>
                      <a:r>
                        <a:rPr lang="cs-CZ" sz="1200" b="1" i="1" u="none" strike="noStrike">
                          <a:solidFill>
                            <a:srgbClr val="000000"/>
                          </a:solidFill>
                          <a:effectLst/>
                          <a:latin typeface="Calibri" panose="020F0502020204030204" pitchFamily="34" charset="0"/>
                        </a:rPr>
                        <a:t>35,9</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3317720095"/>
                  </a:ext>
                </a:extLst>
              </a:tr>
              <a:tr h="188307">
                <a:tc>
                  <a:txBody>
                    <a:bodyPr/>
                    <a:lstStyle/>
                    <a:p>
                      <a:pPr algn="ctr" fontAlgn="ctr"/>
                      <a:r>
                        <a:rPr lang="cs-CZ" sz="1200" b="1" i="1" u="none" strike="noStrike">
                          <a:solidFill>
                            <a:srgbClr val="000000"/>
                          </a:solidFill>
                          <a:effectLst/>
                          <a:latin typeface="Calibri" panose="020F0502020204030204" pitchFamily="34" charset="0"/>
                        </a:rPr>
                        <a:t>46,1</a:t>
                      </a:r>
                    </a:p>
                  </a:txBody>
                  <a:tcPr marL="9525" marR="9525" marT="0" marB="0" anchor="ctr">
                    <a:lnL>
                      <a:noFill/>
                    </a:lnL>
                    <a:lnR>
                      <a:noFill/>
                    </a:lnR>
                    <a:lnT>
                      <a:noFill/>
                    </a:lnT>
                    <a:lnB>
                      <a:noFill/>
                    </a:lnB>
                    <a:solidFill>
                      <a:srgbClr val="FFE383"/>
                    </a:solidFill>
                  </a:tcPr>
                </a:tc>
                <a:extLst>
                  <a:ext uri="{0D108BD9-81ED-4DB2-BD59-A6C34878D82A}">
                    <a16:rowId xmlns:a16="http://schemas.microsoft.com/office/drawing/2014/main" val="2728799633"/>
                  </a:ext>
                </a:extLst>
              </a:tr>
              <a:tr h="188307">
                <a:tc>
                  <a:txBody>
                    <a:bodyPr/>
                    <a:lstStyle/>
                    <a:p>
                      <a:pPr algn="ctr" fontAlgn="ctr"/>
                      <a:r>
                        <a:rPr lang="cs-CZ" sz="1200" b="1" i="1" u="none" strike="noStrike">
                          <a:solidFill>
                            <a:srgbClr val="000000"/>
                          </a:solidFill>
                          <a:effectLst/>
                          <a:latin typeface="Calibri" panose="020F0502020204030204" pitchFamily="34" charset="0"/>
                        </a:rPr>
                        <a:t>29,0</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679861162"/>
                  </a:ext>
                </a:extLst>
              </a:tr>
              <a:tr h="188307">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936103730"/>
                  </a:ext>
                </a:extLst>
              </a:tr>
              <a:tr h="188307">
                <a:tc>
                  <a:txBody>
                    <a:bodyPr/>
                    <a:lstStyle/>
                    <a:p>
                      <a:pPr algn="ctr" fontAlgn="ctr"/>
                      <a:r>
                        <a:rPr lang="cs-CZ" sz="1200" b="1" i="1" u="none" strike="noStrike">
                          <a:solidFill>
                            <a:srgbClr val="000000"/>
                          </a:solidFill>
                          <a:effectLst/>
                          <a:latin typeface="Calibri" panose="020F0502020204030204" pitchFamily="34" charset="0"/>
                        </a:rPr>
                        <a:t>13,1</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3293802376"/>
                  </a:ext>
                </a:extLst>
              </a:tr>
              <a:tr h="188307">
                <a:tc>
                  <a:txBody>
                    <a:bodyPr/>
                    <a:lstStyle/>
                    <a:p>
                      <a:pPr algn="ctr" fontAlgn="ctr"/>
                      <a:r>
                        <a:rPr lang="cs-CZ" sz="1200" b="1" i="1" u="none" strike="noStrike">
                          <a:solidFill>
                            <a:srgbClr val="000000"/>
                          </a:solidFill>
                          <a:effectLst/>
                          <a:latin typeface="Calibri" panose="020F0502020204030204" pitchFamily="34" charset="0"/>
                        </a:rPr>
                        <a:t>11,7</a:t>
                      </a:r>
                    </a:p>
                  </a:txBody>
                  <a:tcPr marL="9525" marR="9525" marT="0" marB="0" anchor="ctr">
                    <a:lnL>
                      <a:noFill/>
                    </a:lnL>
                    <a:lnR>
                      <a:noFill/>
                    </a:lnR>
                    <a:lnT>
                      <a:noFill/>
                    </a:lnT>
                    <a:lnB>
                      <a:noFill/>
                    </a:lnB>
                    <a:solidFill>
                      <a:srgbClr val="E0E282"/>
                    </a:solidFill>
                  </a:tcPr>
                </a:tc>
                <a:extLst>
                  <a:ext uri="{0D108BD9-81ED-4DB2-BD59-A6C34878D82A}">
                    <a16:rowId xmlns:a16="http://schemas.microsoft.com/office/drawing/2014/main" val="1335471980"/>
                  </a:ext>
                </a:extLst>
              </a:tr>
              <a:tr h="188307">
                <a:tc>
                  <a:txBody>
                    <a:bodyPr/>
                    <a:lstStyle/>
                    <a:p>
                      <a:pPr algn="ctr" fontAlgn="ctr"/>
                      <a:r>
                        <a:rPr lang="cs-CZ" sz="1200" b="1" i="1" u="none" strike="noStrike">
                          <a:solidFill>
                            <a:srgbClr val="000000"/>
                          </a:solidFill>
                          <a:effectLst/>
                          <a:latin typeface="Calibri" panose="020F0502020204030204" pitchFamily="34" charset="0"/>
                        </a:rPr>
                        <a:t>8,9</a:t>
                      </a:r>
                    </a:p>
                  </a:txBody>
                  <a:tcPr marL="9525" marR="9525" marT="0" marB="0" anchor="ctr">
                    <a:lnL>
                      <a:noFill/>
                    </a:lnL>
                    <a:lnR>
                      <a:noFill/>
                    </a:lnR>
                    <a:lnT>
                      <a:noFill/>
                    </a:lnT>
                    <a:lnB>
                      <a:noFill/>
                    </a:lnB>
                    <a:solidFill>
                      <a:srgbClr val="ADD37F"/>
                    </a:solidFill>
                  </a:tcPr>
                </a:tc>
                <a:extLst>
                  <a:ext uri="{0D108BD9-81ED-4DB2-BD59-A6C34878D82A}">
                    <a16:rowId xmlns:a16="http://schemas.microsoft.com/office/drawing/2014/main" val="1462693682"/>
                  </a:ext>
                </a:extLst>
              </a:tr>
              <a:tr h="188307">
                <a:tc>
                  <a:txBody>
                    <a:bodyPr/>
                    <a:lstStyle/>
                    <a:p>
                      <a:pPr algn="ctr" fontAlgn="ctr"/>
                      <a:r>
                        <a:rPr lang="cs-CZ" sz="1200" b="1" i="1" u="none" strike="noStrike">
                          <a:solidFill>
                            <a:srgbClr val="000000"/>
                          </a:solidFill>
                          <a:effectLst/>
                          <a:latin typeface="Calibri" panose="020F0502020204030204" pitchFamily="34" charset="0"/>
                        </a:rPr>
                        <a:t>107,5</a:t>
                      </a:r>
                    </a:p>
                  </a:txBody>
                  <a:tcPr marL="9525" marR="9525" marT="0" marB="0" anchor="ctr">
                    <a:lnL>
                      <a:noFill/>
                    </a:lnL>
                    <a:lnR>
                      <a:noFill/>
                    </a:lnR>
                    <a:lnT>
                      <a:noFill/>
                    </a:lnT>
                    <a:lnB>
                      <a:noFill/>
                    </a:lnB>
                    <a:solidFill>
                      <a:srgbClr val="FED280"/>
                    </a:solidFill>
                  </a:tcPr>
                </a:tc>
                <a:extLst>
                  <a:ext uri="{0D108BD9-81ED-4DB2-BD59-A6C34878D82A}">
                    <a16:rowId xmlns:a16="http://schemas.microsoft.com/office/drawing/2014/main" val="2260979206"/>
                  </a:ext>
                </a:extLst>
              </a:tr>
              <a:tr h="188307">
                <a:tc>
                  <a:txBody>
                    <a:bodyPr/>
                    <a:lstStyle/>
                    <a:p>
                      <a:pPr algn="ctr" fontAlgn="ctr"/>
                      <a:r>
                        <a:rPr lang="cs-CZ" sz="1200" b="1" i="1" u="none" strike="noStrike">
                          <a:solidFill>
                            <a:srgbClr val="000000"/>
                          </a:solidFill>
                          <a:effectLst/>
                          <a:latin typeface="Calibri" panose="020F0502020204030204" pitchFamily="34" charset="0"/>
                        </a:rPr>
                        <a:t>24,7</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3424525219"/>
                  </a:ext>
                </a:extLst>
              </a:tr>
              <a:tr h="188307">
                <a:tc>
                  <a:txBody>
                    <a:bodyPr/>
                    <a:lstStyle/>
                    <a:p>
                      <a:pPr algn="ctr" fontAlgn="ctr"/>
                      <a:r>
                        <a:rPr lang="cs-CZ" sz="1200" b="1" i="1" u="none" strike="noStrike">
                          <a:solidFill>
                            <a:srgbClr val="000000"/>
                          </a:solidFill>
                          <a:effectLst/>
                          <a:latin typeface="Calibri" panose="020F0502020204030204" pitchFamily="34" charset="0"/>
                        </a:rPr>
                        <a:t>24,2</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2512493559"/>
                  </a:ext>
                </a:extLst>
              </a:tr>
              <a:tr h="188307">
                <a:tc>
                  <a:txBody>
                    <a:bodyPr/>
                    <a:lstStyle/>
                    <a:p>
                      <a:pPr algn="ctr" fontAlgn="ctr"/>
                      <a:r>
                        <a:rPr lang="cs-CZ" sz="1200" b="1" i="1" u="none" strike="noStrike">
                          <a:solidFill>
                            <a:srgbClr val="000000"/>
                          </a:solidFill>
                          <a:effectLst/>
                          <a:latin typeface="Calibri" panose="020F0502020204030204" pitchFamily="34" charset="0"/>
                        </a:rPr>
                        <a:t>11,6</a:t>
                      </a:r>
                    </a:p>
                  </a:txBody>
                  <a:tcPr marL="9525" marR="9525" marT="0" marB="0" anchor="ctr">
                    <a:lnL>
                      <a:noFill/>
                    </a:lnL>
                    <a:lnR>
                      <a:noFill/>
                    </a:lnR>
                    <a:lnT>
                      <a:noFill/>
                    </a:lnT>
                    <a:lnB>
                      <a:noFill/>
                    </a:lnB>
                    <a:solidFill>
                      <a:srgbClr val="DCE182"/>
                    </a:solidFill>
                  </a:tcPr>
                </a:tc>
                <a:extLst>
                  <a:ext uri="{0D108BD9-81ED-4DB2-BD59-A6C34878D82A}">
                    <a16:rowId xmlns:a16="http://schemas.microsoft.com/office/drawing/2014/main" val="3069265796"/>
                  </a:ext>
                </a:extLst>
              </a:tr>
              <a:tr h="188307">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D3DE81"/>
                    </a:solidFill>
                  </a:tcPr>
                </a:tc>
                <a:extLst>
                  <a:ext uri="{0D108BD9-81ED-4DB2-BD59-A6C34878D82A}">
                    <a16:rowId xmlns:a16="http://schemas.microsoft.com/office/drawing/2014/main" val="2993429292"/>
                  </a:ext>
                </a:extLst>
              </a:tr>
              <a:tr h="188307">
                <a:tc>
                  <a:txBody>
                    <a:bodyPr/>
                    <a:lstStyle/>
                    <a:p>
                      <a:pPr algn="ctr" fontAlgn="ctr"/>
                      <a:r>
                        <a:rPr lang="cs-CZ" sz="1200" b="1" i="1" u="none" strike="noStrike">
                          <a:solidFill>
                            <a:srgbClr val="000000"/>
                          </a:solidFill>
                          <a:effectLst/>
                          <a:latin typeface="Calibri" panose="020F0502020204030204" pitchFamily="34" charset="0"/>
                        </a:rPr>
                        <a:t>14,8</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648663863"/>
                  </a:ext>
                </a:extLst>
              </a:tr>
              <a:tr h="188307">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9D27F"/>
                    </a:solidFill>
                  </a:tcPr>
                </a:tc>
                <a:extLst>
                  <a:ext uri="{0D108BD9-81ED-4DB2-BD59-A6C34878D82A}">
                    <a16:rowId xmlns:a16="http://schemas.microsoft.com/office/drawing/2014/main" val="4254826001"/>
                  </a:ext>
                </a:extLst>
              </a:tr>
              <a:tr h="188307">
                <a:tc>
                  <a:txBody>
                    <a:bodyPr/>
                    <a:lstStyle/>
                    <a:p>
                      <a:pPr algn="ctr" fontAlgn="ctr"/>
                      <a:r>
                        <a:rPr lang="cs-CZ" sz="1200" b="1" i="1" u="none" strike="noStrike">
                          <a:solidFill>
                            <a:srgbClr val="000000"/>
                          </a:solidFill>
                          <a:effectLst/>
                          <a:latin typeface="Calibri" panose="020F0502020204030204" pitchFamily="34" charset="0"/>
                        </a:rPr>
                        <a:t>19,2</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1473432509"/>
                  </a:ext>
                </a:extLst>
              </a:tr>
              <a:tr h="188307">
                <a:tc>
                  <a:txBody>
                    <a:bodyPr/>
                    <a:lstStyle/>
                    <a:p>
                      <a:pPr algn="ctr" fontAlgn="ctr"/>
                      <a:r>
                        <a:rPr lang="cs-CZ" sz="1200" b="1" i="1" u="none" strike="noStrike">
                          <a:solidFill>
                            <a:srgbClr val="000000"/>
                          </a:solidFill>
                          <a:effectLst/>
                          <a:latin typeface="Calibri" panose="020F0502020204030204" pitchFamily="34" charset="0"/>
                        </a:rPr>
                        <a:t>7,3</a:t>
                      </a:r>
                    </a:p>
                  </a:txBody>
                  <a:tcPr marL="9525" marR="9525" marT="0" marB="0" anchor="ctr">
                    <a:lnL>
                      <a:noFill/>
                    </a:lnL>
                    <a:lnR>
                      <a:noFill/>
                    </a:lnR>
                    <a:lnT>
                      <a:noFill/>
                    </a:lnT>
                    <a:lnB>
                      <a:noFill/>
                    </a:lnB>
                    <a:solidFill>
                      <a:srgbClr val="91CB7D"/>
                    </a:solidFill>
                  </a:tcPr>
                </a:tc>
                <a:extLst>
                  <a:ext uri="{0D108BD9-81ED-4DB2-BD59-A6C34878D82A}">
                    <a16:rowId xmlns:a16="http://schemas.microsoft.com/office/drawing/2014/main" val="667158896"/>
                  </a:ext>
                </a:extLst>
              </a:tr>
              <a:tr h="188307">
                <a:tc>
                  <a:txBody>
                    <a:bodyPr/>
                    <a:lstStyle/>
                    <a:p>
                      <a:pPr algn="ctr" fontAlgn="ctr"/>
                      <a:r>
                        <a:rPr lang="cs-CZ" sz="1200" b="1" i="1" u="none" strike="noStrike">
                          <a:solidFill>
                            <a:srgbClr val="000000"/>
                          </a:solidFill>
                          <a:effectLst/>
                          <a:latin typeface="Calibri" panose="020F0502020204030204" pitchFamily="34" charset="0"/>
                        </a:rPr>
                        <a:t>22,0</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550916577"/>
                  </a:ext>
                </a:extLst>
              </a:tr>
              <a:tr h="188307">
                <a:tc>
                  <a:txBody>
                    <a:bodyPr/>
                    <a:lstStyle/>
                    <a:p>
                      <a:pPr algn="ctr" fontAlgn="ctr"/>
                      <a:r>
                        <a:rPr lang="cs-CZ" sz="1200" b="1" i="1" u="none" strike="noStrike">
                          <a:solidFill>
                            <a:srgbClr val="000000"/>
                          </a:solidFill>
                          <a:effectLst/>
                          <a:latin typeface="Calibri" panose="020F0502020204030204" pitchFamily="34" charset="0"/>
                        </a:rPr>
                        <a:t>29,8</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1976932796"/>
                  </a:ext>
                </a:extLst>
              </a:tr>
              <a:tr h="188307">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9D27F"/>
                    </a:solidFill>
                  </a:tcPr>
                </a:tc>
                <a:extLst>
                  <a:ext uri="{0D108BD9-81ED-4DB2-BD59-A6C34878D82A}">
                    <a16:rowId xmlns:a16="http://schemas.microsoft.com/office/drawing/2014/main" val="3183070110"/>
                  </a:ext>
                </a:extLst>
              </a:tr>
              <a:tr h="188307">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1400676202"/>
                  </a:ext>
                </a:extLst>
              </a:tr>
              <a:tr h="188307">
                <a:tc>
                  <a:txBody>
                    <a:bodyPr/>
                    <a:lstStyle/>
                    <a:p>
                      <a:pPr algn="ctr" fontAlgn="ctr"/>
                      <a:r>
                        <a:rPr lang="cs-CZ" sz="1200" b="1" i="1" u="none" strike="noStrike">
                          <a:solidFill>
                            <a:srgbClr val="000000"/>
                          </a:solidFill>
                          <a:effectLst/>
                          <a:latin typeface="Calibri" panose="020F0502020204030204" pitchFamily="34" charset="0"/>
                        </a:rPr>
                        <a:t>13,1</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2142727184"/>
                  </a:ext>
                </a:extLst>
              </a:tr>
              <a:tr h="188307">
                <a:tc>
                  <a:txBody>
                    <a:bodyPr/>
                    <a:lstStyle/>
                    <a:p>
                      <a:pPr algn="ctr" fontAlgn="ctr"/>
                      <a:r>
                        <a:rPr lang="cs-CZ" sz="1200" b="1" i="1" u="none" strike="noStrike">
                          <a:solidFill>
                            <a:srgbClr val="000000"/>
                          </a:solidFill>
                          <a:effectLst/>
                          <a:latin typeface="Calibri" panose="020F0502020204030204" pitchFamily="34" charset="0"/>
                        </a:rPr>
                        <a:t>6,7</a:t>
                      </a:r>
                    </a:p>
                  </a:txBody>
                  <a:tcPr marL="9525" marR="9525" marT="0" marB="0" anchor="ctr">
                    <a:lnL>
                      <a:noFill/>
                    </a:lnL>
                    <a:lnR>
                      <a:noFill/>
                    </a:lnR>
                    <a:lnT>
                      <a:noFill/>
                    </a:lnT>
                    <a:lnB>
                      <a:noFill/>
                    </a:lnB>
                    <a:solidFill>
                      <a:srgbClr val="87C87D"/>
                    </a:solidFill>
                  </a:tcPr>
                </a:tc>
                <a:extLst>
                  <a:ext uri="{0D108BD9-81ED-4DB2-BD59-A6C34878D82A}">
                    <a16:rowId xmlns:a16="http://schemas.microsoft.com/office/drawing/2014/main" val="183436239"/>
                  </a:ext>
                </a:extLst>
              </a:tr>
              <a:tr h="188307">
                <a:tc>
                  <a:txBody>
                    <a:bodyPr/>
                    <a:lstStyle/>
                    <a:p>
                      <a:pPr algn="ctr" fontAlgn="ctr"/>
                      <a:r>
                        <a:rPr lang="cs-CZ" sz="1200" b="1" i="1" u="none" strike="noStrike">
                          <a:solidFill>
                            <a:srgbClr val="000000"/>
                          </a:solidFill>
                          <a:effectLst/>
                          <a:latin typeface="Calibri" panose="020F0502020204030204" pitchFamily="34" charset="0"/>
                        </a:rPr>
                        <a:t>496,5</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355950842"/>
                  </a:ext>
                </a:extLst>
              </a:tr>
              <a:tr h="188307">
                <a:tc>
                  <a:txBody>
                    <a:bodyPr/>
                    <a:lstStyle/>
                    <a:p>
                      <a:pPr algn="ctr" fontAlgn="ctr"/>
                      <a:r>
                        <a:rPr lang="cs-CZ" sz="1200" b="1" i="1" u="none" strike="noStrike">
                          <a:solidFill>
                            <a:srgbClr val="000000"/>
                          </a:solidFill>
                          <a:effectLst/>
                          <a:latin typeface="Calibri" panose="020F0502020204030204" pitchFamily="34" charset="0"/>
                        </a:rPr>
                        <a:t>23,2</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1558297795"/>
                  </a:ext>
                </a:extLst>
              </a:tr>
              <a:tr h="188307">
                <a:tc>
                  <a:txBody>
                    <a:bodyPr/>
                    <a:lstStyle/>
                    <a:p>
                      <a:pPr algn="ctr" fontAlgn="ctr"/>
                      <a:r>
                        <a:rPr lang="cs-CZ" sz="1200" b="1" i="1" u="none" strike="noStrike" dirty="0">
                          <a:solidFill>
                            <a:srgbClr val="000000"/>
                          </a:solidFill>
                          <a:effectLst/>
                          <a:latin typeface="Calibri" panose="020F0502020204030204" pitchFamily="34" charset="0"/>
                        </a:rPr>
                        <a:t>8,5</a:t>
                      </a:r>
                    </a:p>
                  </a:txBody>
                  <a:tcPr marL="9525" marR="9525" marT="0" marB="0" anchor="ctr">
                    <a:lnL>
                      <a:noFill/>
                    </a:lnL>
                    <a:lnR>
                      <a:noFill/>
                    </a:lnR>
                    <a:lnT>
                      <a:noFill/>
                    </a:lnT>
                    <a:lnB>
                      <a:noFill/>
                    </a:lnB>
                    <a:solidFill>
                      <a:srgbClr val="A7D17E"/>
                    </a:solidFill>
                  </a:tcPr>
                </a:tc>
                <a:extLst>
                  <a:ext uri="{0D108BD9-81ED-4DB2-BD59-A6C34878D82A}">
                    <a16:rowId xmlns:a16="http://schemas.microsoft.com/office/drawing/2014/main" val="3189278399"/>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673554004"/>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57300" y="2101850"/>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3568686264"/>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4395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3245176"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05/2020 – 06/2021 k 4. 6.</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7271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309098637"/>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74392" y="3058979"/>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1258277300"/>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1042" y="1931086"/>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34975"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05–06/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7" name="Tabulka 6">
            <a:extLst>
              <a:ext uri="{FF2B5EF4-FFF2-40B4-BE49-F238E27FC236}">
                <a16:creationId xmlns:a16="http://schemas.microsoft.com/office/drawing/2014/main" id="{CB8D422F-C012-4612-99C5-E793D43AD8BF}"/>
              </a:ext>
            </a:extLst>
          </p:cNvPr>
          <p:cNvGraphicFramePr>
            <a:graphicFrameLocks noGrp="1"/>
          </p:cNvGraphicFramePr>
          <p:nvPr/>
        </p:nvGraphicFramePr>
        <p:xfrm>
          <a:off x="10917608" y="1572141"/>
          <a:ext cx="988642" cy="4886492"/>
        </p:xfrm>
        <a:graphic>
          <a:graphicData uri="http://schemas.openxmlformats.org/drawingml/2006/table">
            <a:tbl>
              <a:tblPr/>
              <a:tblGrid>
                <a:gridCol w="988642">
                  <a:extLst>
                    <a:ext uri="{9D8B030D-6E8A-4147-A177-3AD203B41FA5}">
                      <a16:colId xmlns:a16="http://schemas.microsoft.com/office/drawing/2014/main" val="1784220150"/>
                    </a:ext>
                  </a:extLst>
                </a:gridCol>
              </a:tblGrid>
              <a:tr h="187942">
                <a:tc>
                  <a:txBody>
                    <a:bodyPr/>
                    <a:lstStyle/>
                    <a:p>
                      <a:pPr algn="ctr" fontAlgn="ctr"/>
                      <a:r>
                        <a:rPr lang="cs-CZ" sz="1200" b="1" i="1" u="none" strike="noStrike">
                          <a:solidFill>
                            <a:srgbClr val="000000"/>
                          </a:solidFill>
                          <a:effectLst/>
                          <a:latin typeface="Calibri" panose="020F0502020204030204" pitchFamily="34" charset="0"/>
                        </a:rPr>
                        <a:t>22,0</a:t>
                      </a:r>
                    </a:p>
                  </a:txBody>
                  <a:tcPr marL="8368" marR="8368" marT="0" marB="0" anchor="ctr">
                    <a:lnL>
                      <a:noFill/>
                    </a:lnL>
                    <a:lnR>
                      <a:noFill/>
                    </a:lnR>
                    <a:lnT>
                      <a:noFill/>
                    </a:lnT>
                    <a:lnB>
                      <a:noFill/>
                    </a:lnB>
                    <a:solidFill>
                      <a:srgbClr val="FFE984"/>
                    </a:solidFill>
                  </a:tcPr>
                </a:tc>
                <a:extLst>
                  <a:ext uri="{0D108BD9-81ED-4DB2-BD59-A6C34878D82A}">
                    <a16:rowId xmlns:a16="http://schemas.microsoft.com/office/drawing/2014/main" val="1723370000"/>
                  </a:ext>
                </a:extLst>
              </a:tr>
              <a:tr h="187942">
                <a:tc>
                  <a:txBody>
                    <a:bodyPr/>
                    <a:lstStyle/>
                    <a:p>
                      <a:pPr algn="ctr" fontAlgn="ctr"/>
                      <a:r>
                        <a:rPr lang="cs-CZ" sz="1200" b="1" i="1" u="none" strike="noStrike">
                          <a:solidFill>
                            <a:srgbClr val="000000"/>
                          </a:solidFill>
                          <a:effectLst/>
                          <a:latin typeface="Calibri" panose="020F0502020204030204" pitchFamily="34" charset="0"/>
                        </a:rPr>
                        <a:t>4,0</a:t>
                      </a:r>
                    </a:p>
                  </a:txBody>
                  <a:tcPr marL="8368" marR="8368" marT="0" marB="0" anchor="ctr">
                    <a:lnL>
                      <a:noFill/>
                    </a:lnL>
                    <a:lnR>
                      <a:noFill/>
                    </a:lnR>
                    <a:lnT>
                      <a:noFill/>
                    </a:lnT>
                    <a:lnB>
                      <a:noFill/>
                    </a:lnB>
                    <a:solidFill>
                      <a:srgbClr val="79C47C"/>
                    </a:solidFill>
                  </a:tcPr>
                </a:tc>
                <a:extLst>
                  <a:ext uri="{0D108BD9-81ED-4DB2-BD59-A6C34878D82A}">
                    <a16:rowId xmlns:a16="http://schemas.microsoft.com/office/drawing/2014/main" val="3355072522"/>
                  </a:ext>
                </a:extLst>
              </a:tr>
              <a:tr h="187942">
                <a:tc>
                  <a:txBody>
                    <a:bodyPr/>
                    <a:lstStyle/>
                    <a:p>
                      <a:pPr algn="ctr" fontAlgn="ctr"/>
                      <a:r>
                        <a:rPr lang="cs-CZ" sz="1200" b="1" i="1" u="none" strike="noStrike">
                          <a:solidFill>
                            <a:srgbClr val="000000"/>
                          </a:solidFill>
                          <a:effectLst/>
                          <a:latin typeface="Calibri" panose="020F0502020204030204" pitchFamily="34" charset="0"/>
                        </a:rPr>
                        <a:t>24,1</a:t>
                      </a:r>
                    </a:p>
                  </a:txBody>
                  <a:tcPr marL="8368" marR="8368" marT="0" marB="0" anchor="ctr">
                    <a:lnL>
                      <a:noFill/>
                    </a:lnL>
                    <a:lnR>
                      <a:noFill/>
                    </a:lnR>
                    <a:lnT>
                      <a:noFill/>
                    </a:lnT>
                    <a:lnB>
                      <a:noFill/>
                    </a:lnB>
                    <a:solidFill>
                      <a:srgbClr val="FFE884"/>
                    </a:solidFill>
                  </a:tcPr>
                </a:tc>
                <a:extLst>
                  <a:ext uri="{0D108BD9-81ED-4DB2-BD59-A6C34878D82A}">
                    <a16:rowId xmlns:a16="http://schemas.microsoft.com/office/drawing/2014/main" val="3765296890"/>
                  </a:ext>
                </a:extLst>
              </a:tr>
              <a:tr h="187942">
                <a:tc>
                  <a:txBody>
                    <a:bodyPr/>
                    <a:lstStyle/>
                    <a:p>
                      <a:pPr algn="ctr" fontAlgn="ctr"/>
                      <a:r>
                        <a:rPr lang="cs-CZ" sz="1200" b="1" i="1" u="none" strike="noStrike">
                          <a:solidFill>
                            <a:srgbClr val="000000"/>
                          </a:solidFill>
                          <a:effectLst/>
                          <a:latin typeface="Calibri" panose="020F0502020204030204" pitchFamily="34" charset="0"/>
                        </a:rPr>
                        <a:t>16,0</a:t>
                      </a:r>
                    </a:p>
                  </a:txBody>
                  <a:tcPr marL="8368" marR="8368" marT="0" marB="0" anchor="ctr">
                    <a:lnL>
                      <a:noFill/>
                    </a:lnL>
                    <a:lnR>
                      <a:noFill/>
                    </a:lnR>
                    <a:lnT>
                      <a:noFill/>
                    </a:lnT>
                    <a:lnB>
                      <a:noFill/>
                    </a:lnB>
                    <a:solidFill>
                      <a:srgbClr val="FFEA84"/>
                    </a:solidFill>
                  </a:tcPr>
                </a:tc>
                <a:extLst>
                  <a:ext uri="{0D108BD9-81ED-4DB2-BD59-A6C34878D82A}">
                    <a16:rowId xmlns:a16="http://schemas.microsoft.com/office/drawing/2014/main" val="966508369"/>
                  </a:ext>
                </a:extLst>
              </a:tr>
              <a:tr h="187942">
                <a:tc>
                  <a:txBody>
                    <a:bodyPr/>
                    <a:lstStyle/>
                    <a:p>
                      <a:pPr algn="ctr" fontAlgn="ctr"/>
                      <a:r>
                        <a:rPr lang="cs-CZ" sz="1200" b="1" i="1" u="none" strike="noStrike">
                          <a:solidFill>
                            <a:srgbClr val="000000"/>
                          </a:solidFill>
                          <a:effectLst/>
                          <a:latin typeface="Calibri" panose="020F0502020204030204" pitchFamily="34" charset="0"/>
                        </a:rPr>
                        <a:t>11,0</a:t>
                      </a:r>
                    </a:p>
                  </a:txBody>
                  <a:tcPr marL="8368" marR="8368" marT="0" marB="0" anchor="ctr">
                    <a:lnL>
                      <a:noFill/>
                    </a:lnL>
                    <a:lnR>
                      <a:noFill/>
                    </a:lnR>
                    <a:lnT>
                      <a:noFill/>
                    </a:lnT>
                    <a:lnB>
                      <a:noFill/>
                    </a:lnB>
                    <a:solidFill>
                      <a:srgbClr val="FFEB84"/>
                    </a:solidFill>
                  </a:tcPr>
                </a:tc>
                <a:extLst>
                  <a:ext uri="{0D108BD9-81ED-4DB2-BD59-A6C34878D82A}">
                    <a16:rowId xmlns:a16="http://schemas.microsoft.com/office/drawing/2014/main" val="1196796302"/>
                  </a:ext>
                </a:extLst>
              </a:tr>
              <a:tr h="187942">
                <a:tc>
                  <a:txBody>
                    <a:bodyPr/>
                    <a:lstStyle/>
                    <a:p>
                      <a:pPr algn="ctr" fontAlgn="ctr"/>
                      <a:r>
                        <a:rPr lang="cs-CZ" sz="1200" b="1" i="1" u="none" strike="noStrike">
                          <a:solidFill>
                            <a:srgbClr val="000000"/>
                          </a:solidFill>
                          <a:effectLst/>
                          <a:latin typeface="Calibri" panose="020F0502020204030204" pitchFamily="34" charset="0"/>
                        </a:rPr>
                        <a:t>32,3</a:t>
                      </a:r>
                    </a:p>
                  </a:txBody>
                  <a:tcPr marL="8368" marR="8368" marT="0" marB="0" anchor="ctr">
                    <a:lnL>
                      <a:noFill/>
                    </a:lnL>
                    <a:lnR>
                      <a:noFill/>
                    </a:lnR>
                    <a:lnT>
                      <a:noFill/>
                    </a:lnT>
                    <a:lnB>
                      <a:noFill/>
                    </a:lnB>
                    <a:solidFill>
                      <a:srgbClr val="FFE683"/>
                    </a:solidFill>
                  </a:tcPr>
                </a:tc>
                <a:extLst>
                  <a:ext uri="{0D108BD9-81ED-4DB2-BD59-A6C34878D82A}">
                    <a16:rowId xmlns:a16="http://schemas.microsoft.com/office/drawing/2014/main" val="2318190527"/>
                  </a:ext>
                </a:extLst>
              </a:tr>
              <a:tr h="187942">
                <a:tc>
                  <a:txBody>
                    <a:bodyPr/>
                    <a:lstStyle/>
                    <a:p>
                      <a:pPr algn="ctr" fontAlgn="ctr"/>
                      <a:r>
                        <a:rPr lang="cs-CZ" sz="1200" b="1" i="1" u="none" strike="noStrike">
                          <a:solidFill>
                            <a:srgbClr val="000000"/>
                          </a:solidFill>
                          <a:effectLst/>
                          <a:latin typeface="Calibri" panose="020F0502020204030204" pitchFamily="34" charset="0"/>
                        </a:rPr>
                        <a:t>551,0</a:t>
                      </a:r>
                    </a:p>
                  </a:txBody>
                  <a:tcPr marL="8368" marR="8368" marT="0" marB="0" anchor="ctr">
                    <a:lnL>
                      <a:noFill/>
                    </a:lnL>
                    <a:lnR>
                      <a:noFill/>
                    </a:lnR>
                    <a:lnT>
                      <a:noFill/>
                    </a:lnT>
                    <a:lnB>
                      <a:noFill/>
                    </a:lnB>
                    <a:solidFill>
                      <a:srgbClr val="F8696B"/>
                    </a:solidFill>
                  </a:tcPr>
                </a:tc>
                <a:extLst>
                  <a:ext uri="{0D108BD9-81ED-4DB2-BD59-A6C34878D82A}">
                    <a16:rowId xmlns:a16="http://schemas.microsoft.com/office/drawing/2014/main" val="1404927887"/>
                  </a:ext>
                </a:extLst>
              </a:tr>
              <a:tr h="187942">
                <a:tc>
                  <a:txBody>
                    <a:bodyPr/>
                    <a:lstStyle/>
                    <a:p>
                      <a:pPr algn="ctr" fontAlgn="ctr"/>
                      <a:r>
                        <a:rPr lang="cs-CZ" sz="1200" b="1" i="1" u="none" strike="noStrike">
                          <a:solidFill>
                            <a:srgbClr val="000000"/>
                          </a:solidFill>
                          <a:effectLst/>
                          <a:latin typeface="Calibri" panose="020F0502020204030204" pitchFamily="34" charset="0"/>
                        </a:rPr>
                        <a:t>3,0</a:t>
                      </a:r>
                    </a:p>
                  </a:txBody>
                  <a:tcPr marL="8368" marR="8368" marT="0" marB="0" anchor="ctr">
                    <a:lnL>
                      <a:noFill/>
                    </a:lnL>
                    <a:lnR>
                      <a:noFill/>
                    </a:lnR>
                    <a:lnT>
                      <a:noFill/>
                    </a:lnT>
                    <a:lnB>
                      <a:noFill/>
                    </a:lnB>
                    <a:solidFill>
                      <a:srgbClr val="63BE7B"/>
                    </a:solidFill>
                  </a:tcPr>
                </a:tc>
                <a:extLst>
                  <a:ext uri="{0D108BD9-81ED-4DB2-BD59-A6C34878D82A}">
                    <a16:rowId xmlns:a16="http://schemas.microsoft.com/office/drawing/2014/main" val="1341485110"/>
                  </a:ext>
                </a:extLst>
              </a:tr>
              <a:tr h="187942">
                <a:tc>
                  <a:txBody>
                    <a:bodyPr/>
                    <a:lstStyle/>
                    <a:p>
                      <a:pPr algn="ctr" fontAlgn="ctr"/>
                      <a:r>
                        <a:rPr lang="cs-CZ" sz="1200" b="1" i="1" u="none" strike="noStrike">
                          <a:solidFill>
                            <a:srgbClr val="000000"/>
                          </a:solidFill>
                          <a:effectLst/>
                          <a:latin typeface="Calibri" panose="020F0502020204030204" pitchFamily="34" charset="0"/>
                        </a:rPr>
                        <a:t>22,0</a:t>
                      </a:r>
                    </a:p>
                  </a:txBody>
                  <a:tcPr marL="8368" marR="8368" marT="0" marB="0" anchor="ctr">
                    <a:lnL>
                      <a:noFill/>
                    </a:lnL>
                    <a:lnR>
                      <a:noFill/>
                    </a:lnR>
                    <a:lnT>
                      <a:noFill/>
                    </a:lnT>
                    <a:lnB>
                      <a:noFill/>
                    </a:lnB>
                    <a:solidFill>
                      <a:srgbClr val="FFE984"/>
                    </a:solidFill>
                  </a:tcPr>
                </a:tc>
                <a:extLst>
                  <a:ext uri="{0D108BD9-81ED-4DB2-BD59-A6C34878D82A}">
                    <a16:rowId xmlns:a16="http://schemas.microsoft.com/office/drawing/2014/main" val="717172990"/>
                  </a:ext>
                </a:extLst>
              </a:tr>
              <a:tr h="187942">
                <a:tc>
                  <a:txBody>
                    <a:bodyPr/>
                    <a:lstStyle/>
                    <a:p>
                      <a:pPr algn="ctr" fontAlgn="ctr"/>
                      <a:r>
                        <a:rPr lang="cs-CZ" sz="1200" b="1" i="1" u="none" strike="noStrike">
                          <a:solidFill>
                            <a:srgbClr val="000000"/>
                          </a:solidFill>
                          <a:effectLst/>
                          <a:latin typeface="Calibri" panose="020F0502020204030204" pitchFamily="34" charset="0"/>
                        </a:rPr>
                        <a:t>25,5</a:t>
                      </a:r>
                    </a:p>
                  </a:txBody>
                  <a:tcPr marL="8368" marR="8368" marT="0" marB="0" anchor="ctr">
                    <a:lnL>
                      <a:noFill/>
                    </a:lnL>
                    <a:lnR>
                      <a:noFill/>
                    </a:lnR>
                    <a:lnT>
                      <a:noFill/>
                    </a:lnT>
                    <a:lnB>
                      <a:noFill/>
                    </a:lnB>
                    <a:solidFill>
                      <a:srgbClr val="FFE884"/>
                    </a:solidFill>
                  </a:tcPr>
                </a:tc>
                <a:extLst>
                  <a:ext uri="{0D108BD9-81ED-4DB2-BD59-A6C34878D82A}">
                    <a16:rowId xmlns:a16="http://schemas.microsoft.com/office/drawing/2014/main" val="1910338750"/>
                  </a:ext>
                </a:extLst>
              </a:tr>
              <a:tr h="187942">
                <a:tc>
                  <a:txBody>
                    <a:bodyPr/>
                    <a:lstStyle/>
                    <a:p>
                      <a:pPr algn="ctr" fontAlgn="ctr"/>
                      <a:r>
                        <a:rPr lang="cs-CZ" sz="1200" b="1" i="1" u="none" strike="noStrike">
                          <a:solidFill>
                            <a:srgbClr val="000000"/>
                          </a:solidFill>
                          <a:effectLst/>
                          <a:latin typeface="Calibri" panose="020F0502020204030204" pitchFamily="34" charset="0"/>
                        </a:rPr>
                        <a:t>5,0</a:t>
                      </a:r>
                    </a:p>
                  </a:txBody>
                  <a:tcPr marL="8368" marR="8368" marT="0" marB="0" anchor="ctr">
                    <a:lnL>
                      <a:noFill/>
                    </a:lnL>
                    <a:lnR>
                      <a:noFill/>
                    </a:lnR>
                    <a:lnT>
                      <a:noFill/>
                    </a:lnT>
                    <a:lnB>
                      <a:noFill/>
                    </a:lnB>
                    <a:solidFill>
                      <a:srgbClr val="8FCA7D"/>
                    </a:solidFill>
                  </a:tcPr>
                </a:tc>
                <a:extLst>
                  <a:ext uri="{0D108BD9-81ED-4DB2-BD59-A6C34878D82A}">
                    <a16:rowId xmlns:a16="http://schemas.microsoft.com/office/drawing/2014/main" val="1483989446"/>
                  </a:ext>
                </a:extLst>
              </a:tr>
              <a:tr h="187942">
                <a:tc>
                  <a:txBody>
                    <a:bodyPr/>
                    <a:lstStyle/>
                    <a:p>
                      <a:pPr algn="ctr" fontAlgn="ctr"/>
                      <a:r>
                        <a:rPr lang="cs-CZ" sz="1200" b="1" i="1" u="none" strike="noStrike">
                          <a:solidFill>
                            <a:srgbClr val="000000"/>
                          </a:solidFill>
                          <a:effectLst/>
                          <a:latin typeface="Calibri" panose="020F0502020204030204" pitchFamily="34" charset="0"/>
                        </a:rPr>
                        <a:t>10,0</a:t>
                      </a:r>
                    </a:p>
                  </a:txBody>
                  <a:tcPr marL="8368" marR="8368" marT="0" marB="0" anchor="ctr">
                    <a:lnL>
                      <a:noFill/>
                    </a:lnL>
                    <a:lnR>
                      <a:noFill/>
                    </a:lnR>
                    <a:lnT>
                      <a:noFill/>
                    </a:lnT>
                    <a:lnB>
                      <a:noFill/>
                    </a:lnB>
                    <a:solidFill>
                      <a:srgbClr val="FFEB84"/>
                    </a:solidFill>
                  </a:tcPr>
                </a:tc>
                <a:extLst>
                  <a:ext uri="{0D108BD9-81ED-4DB2-BD59-A6C34878D82A}">
                    <a16:rowId xmlns:a16="http://schemas.microsoft.com/office/drawing/2014/main" val="3018988055"/>
                  </a:ext>
                </a:extLst>
              </a:tr>
              <a:tr h="187942">
                <a:tc>
                  <a:txBody>
                    <a:bodyPr/>
                    <a:lstStyle/>
                    <a:p>
                      <a:pPr algn="ctr" fontAlgn="ctr"/>
                      <a:r>
                        <a:rPr lang="cs-CZ" sz="1200" b="1" i="1" u="none" strike="noStrike">
                          <a:solidFill>
                            <a:srgbClr val="000000"/>
                          </a:solidFill>
                          <a:effectLst/>
                          <a:latin typeface="Calibri" panose="020F0502020204030204" pitchFamily="34" charset="0"/>
                        </a:rPr>
                        <a:t>6,0</a:t>
                      </a:r>
                    </a:p>
                  </a:txBody>
                  <a:tcPr marL="8368" marR="8368" marT="0" marB="0" anchor="ctr">
                    <a:lnL>
                      <a:noFill/>
                    </a:lnL>
                    <a:lnR>
                      <a:noFill/>
                    </a:lnR>
                    <a:lnT>
                      <a:noFill/>
                    </a:lnT>
                    <a:lnB>
                      <a:noFill/>
                    </a:lnB>
                    <a:solidFill>
                      <a:srgbClr val="A5D17E"/>
                    </a:solidFill>
                  </a:tcPr>
                </a:tc>
                <a:extLst>
                  <a:ext uri="{0D108BD9-81ED-4DB2-BD59-A6C34878D82A}">
                    <a16:rowId xmlns:a16="http://schemas.microsoft.com/office/drawing/2014/main" val="4235814119"/>
                  </a:ext>
                </a:extLst>
              </a:tr>
              <a:tr h="187942">
                <a:tc>
                  <a:txBody>
                    <a:bodyPr/>
                    <a:lstStyle/>
                    <a:p>
                      <a:pPr algn="ctr" fontAlgn="ctr"/>
                      <a:r>
                        <a:rPr lang="cs-CZ" sz="1200" b="1" i="1" u="none" strike="noStrike" dirty="0">
                          <a:solidFill>
                            <a:srgbClr val="000000"/>
                          </a:solidFill>
                          <a:effectLst/>
                          <a:latin typeface="Calibri" panose="020F0502020204030204" pitchFamily="34" charset="0"/>
                        </a:rPr>
                        <a:t>4,0</a:t>
                      </a:r>
                    </a:p>
                  </a:txBody>
                  <a:tcPr marL="8368" marR="8368" marT="0" marB="0" anchor="ctr">
                    <a:lnL>
                      <a:noFill/>
                    </a:lnL>
                    <a:lnR>
                      <a:noFill/>
                    </a:lnR>
                    <a:lnT>
                      <a:noFill/>
                    </a:lnT>
                    <a:lnB>
                      <a:noFill/>
                    </a:lnB>
                    <a:solidFill>
                      <a:srgbClr val="79C47C"/>
                    </a:solidFill>
                  </a:tcPr>
                </a:tc>
                <a:extLst>
                  <a:ext uri="{0D108BD9-81ED-4DB2-BD59-A6C34878D82A}">
                    <a16:rowId xmlns:a16="http://schemas.microsoft.com/office/drawing/2014/main" val="4294884864"/>
                  </a:ext>
                </a:extLst>
              </a:tr>
              <a:tr h="187942">
                <a:tc>
                  <a:txBody>
                    <a:bodyPr/>
                    <a:lstStyle/>
                    <a:p>
                      <a:pPr algn="ctr" fontAlgn="ctr"/>
                      <a:r>
                        <a:rPr lang="cs-CZ" sz="1200" b="1" i="1" u="none" strike="noStrike" dirty="0">
                          <a:solidFill>
                            <a:srgbClr val="000000"/>
                          </a:solidFill>
                          <a:effectLst/>
                          <a:latin typeface="Calibri" panose="020F0502020204030204" pitchFamily="34" charset="0"/>
                        </a:rPr>
                        <a:t>6,0</a:t>
                      </a:r>
                    </a:p>
                  </a:txBody>
                  <a:tcPr marL="8368" marR="8368" marT="0" marB="0" anchor="ctr">
                    <a:lnL>
                      <a:noFill/>
                    </a:lnL>
                    <a:lnR>
                      <a:noFill/>
                    </a:lnR>
                    <a:lnT>
                      <a:noFill/>
                    </a:lnT>
                    <a:lnB>
                      <a:noFill/>
                    </a:lnB>
                    <a:solidFill>
                      <a:srgbClr val="A5D17E"/>
                    </a:solidFill>
                  </a:tcPr>
                </a:tc>
                <a:extLst>
                  <a:ext uri="{0D108BD9-81ED-4DB2-BD59-A6C34878D82A}">
                    <a16:rowId xmlns:a16="http://schemas.microsoft.com/office/drawing/2014/main" val="2268954006"/>
                  </a:ext>
                </a:extLst>
              </a:tr>
              <a:tr h="187942">
                <a:tc>
                  <a:txBody>
                    <a:bodyPr/>
                    <a:lstStyle/>
                    <a:p>
                      <a:pPr algn="ctr" fontAlgn="ctr"/>
                      <a:r>
                        <a:rPr lang="cs-CZ" sz="1200" b="1" i="1" u="none" strike="noStrike">
                          <a:solidFill>
                            <a:srgbClr val="000000"/>
                          </a:solidFill>
                          <a:effectLst/>
                          <a:latin typeface="Calibri" panose="020F0502020204030204" pitchFamily="34" charset="0"/>
                        </a:rPr>
                        <a:t>14,0</a:t>
                      </a:r>
                    </a:p>
                  </a:txBody>
                  <a:tcPr marL="8368" marR="8368" marT="0" marB="0" anchor="ctr">
                    <a:lnL>
                      <a:noFill/>
                    </a:lnL>
                    <a:lnR>
                      <a:noFill/>
                    </a:lnR>
                    <a:lnT>
                      <a:noFill/>
                    </a:lnT>
                    <a:lnB>
                      <a:noFill/>
                    </a:lnB>
                    <a:solidFill>
                      <a:srgbClr val="FFEB84"/>
                    </a:solidFill>
                  </a:tcPr>
                </a:tc>
                <a:extLst>
                  <a:ext uri="{0D108BD9-81ED-4DB2-BD59-A6C34878D82A}">
                    <a16:rowId xmlns:a16="http://schemas.microsoft.com/office/drawing/2014/main" val="1723793420"/>
                  </a:ext>
                </a:extLst>
              </a:tr>
              <a:tr h="187942">
                <a:tc>
                  <a:txBody>
                    <a:bodyPr/>
                    <a:lstStyle/>
                    <a:p>
                      <a:pPr algn="ctr" fontAlgn="ctr"/>
                      <a:r>
                        <a:rPr lang="cs-CZ" sz="1200" b="1" i="1" u="none" strike="noStrike">
                          <a:solidFill>
                            <a:srgbClr val="000000"/>
                          </a:solidFill>
                          <a:effectLst/>
                          <a:latin typeface="Calibri" panose="020F0502020204030204" pitchFamily="34" charset="0"/>
                        </a:rPr>
                        <a:t>3,0</a:t>
                      </a:r>
                    </a:p>
                  </a:txBody>
                  <a:tcPr marL="8368" marR="8368" marT="0" marB="0" anchor="ctr">
                    <a:lnL>
                      <a:noFill/>
                    </a:lnL>
                    <a:lnR>
                      <a:noFill/>
                    </a:lnR>
                    <a:lnT>
                      <a:noFill/>
                    </a:lnT>
                    <a:lnB>
                      <a:noFill/>
                    </a:lnB>
                    <a:solidFill>
                      <a:srgbClr val="63BE7B"/>
                    </a:solidFill>
                  </a:tcPr>
                </a:tc>
                <a:extLst>
                  <a:ext uri="{0D108BD9-81ED-4DB2-BD59-A6C34878D82A}">
                    <a16:rowId xmlns:a16="http://schemas.microsoft.com/office/drawing/2014/main" val="2169500376"/>
                  </a:ext>
                </a:extLst>
              </a:tr>
              <a:tr h="187942">
                <a:tc>
                  <a:txBody>
                    <a:bodyPr/>
                    <a:lstStyle/>
                    <a:p>
                      <a:pPr algn="ctr" fontAlgn="ctr"/>
                      <a:r>
                        <a:rPr lang="cs-CZ" sz="1200" b="1" i="1" u="none" strike="noStrike">
                          <a:solidFill>
                            <a:srgbClr val="000000"/>
                          </a:solidFill>
                          <a:effectLst/>
                          <a:latin typeface="Calibri" panose="020F0502020204030204" pitchFamily="34" charset="0"/>
                        </a:rPr>
                        <a:t>7,0</a:t>
                      </a:r>
                    </a:p>
                  </a:txBody>
                  <a:tcPr marL="8368" marR="8368" marT="0" marB="0" anchor="ctr">
                    <a:lnL>
                      <a:noFill/>
                    </a:lnL>
                    <a:lnR>
                      <a:noFill/>
                    </a:lnR>
                    <a:lnT>
                      <a:noFill/>
                    </a:lnT>
                    <a:lnB>
                      <a:noFill/>
                    </a:lnB>
                    <a:solidFill>
                      <a:srgbClr val="BCD780"/>
                    </a:solidFill>
                  </a:tcPr>
                </a:tc>
                <a:extLst>
                  <a:ext uri="{0D108BD9-81ED-4DB2-BD59-A6C34878D82A}">
                    <a16:rowId xmlns:a16="http://schemas.microsoft.com/office/drawing/2014/main" val="2098647036"/>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2597334555"/>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116216257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358370063"/>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337759859"/>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23673422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887136200"/>
                  </a:ext>
                </a:extLst>
              </a:tr>
              <a:tr h="187942">
                <a:tc>
                  <a:txBody>
                    <a:bodyPr/>
                    <a:lstStyle/>
                    <a:p>
                      <a:pPr algn="ctr" fontAlgn="ctr"/>
                      <a:r>
                        <a:rPr lang="cs-CZ" sz="1200" b="1" i="1" u="none" strike="noStrike">
                          <a:solidFill>
                            <a:srgbClr val="000000"/>
                          </a:solidFill>
                          <a:effectLst/>
                          <a:latin typeface="Calibri" panose="020F0502020204030204" pitchFamily="34" charset="0"/>
                        </a:rPr>
                        <a:t>7,5</a:t>
                      </a:r>
                    </a:p>
                  </a:txBody>
                  <a:tcPr marL="8368" marR="8368" marT="0" marB="0" anchor="ctr">
                    <a:lnL>
                      <a:noFill/>
                    </a:lnL>
                    <a:lnR>
                      <a:noFill/>
                    </a:lnR>
                    <a:lnT>
                      <a:noFill/>
                    </a:lnT>
                    <a:lnB>
                      <a:noFill/>
                    </a:lnB>
                    <a:solidFill>
                      <a:srgbClr val="C7DA80"/>
                    </a:solidFill>
                  </a:tcPr>
                </a:tc>
                <a:extLst>
                  <a:ext uri="{0D108BD9-81ED-4DB2-BD59-A6C34878D82A}">
                    <a16:rowId xmlns:a16="http://schemas.microsoft.com/office/drawing/2014/main" val="654918089"/>
                  </a:ext>
                </a:extLst>
              </a:tr>
              <a:tr h="187942">
                <a:tc>
                  <a:txBody>
                    <a:bodyPr/>
                    <a:lstStyle/>
                    <a:p>
                      <a:pPr algn="ctr" fontAlgn="ctr"/>
                      <a:endParaRPr lang="cs-CZ" sz="1200" b="1" i="1" u="none" strike="noStrike" dirty="0">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2295667394"/>
                  </a:ext>
                </a:extLst>
              </a:tr>
            </a:tbl>
          </a:graphicData>
        </a:graphic>
      </p:graphicFrame>
    </p:spTree>
    <p:extLst>
      <p:ext uri="{BB962C8B-B14F-4D97-AF65-F5344CB8AC3E}">
        <p14:creationId xmlns:p14="http://schemas.microsoft.com/office/powerpoint/2010/main" val="2917778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123</TotalTime>
  <Words>18135</Words>
  <Application>Microsoft Office PowerPoint</Application>
  <PresentationFormat>Širokoúhlá obrazovka</PresentationFormat>
  <Paragraphs>5936</Paragraphs>
  <Slides>52</Slides>
  <Notes>7</Notes>
  <HiddenSlides>0</HiddenSlides>
  <MMClips>0</MMClips>
  <ScaleCrop>false</ScaleCrop>
  <HeadingPairs>
    <vt:vector size="6" baseType="variant">
      <vt:variant>
        <vt:lpstr>Použitá písma</vt:lpstr>
      </vt:variant>
      <vt:variant>
        <vt:i4>4</vt:i4>
      </vt:variant>
      <vt:variant>
        <vt:lpstr>Motiv</vt:lpstr>
      </vt:variant>
      <vt:variant>
        <vt:i4>1</vt:i4>
      </vt:variant>
      <vt:variant>
        <vt:lpstr>Nadpisy snímků</vt:lpstr>
      </vt:variant>
      <vt:variant>
        <vt:i4>52</vt:i4>
      </vt:variant>
    </vt:vector>
  </HeadingPairs>
  <TitlesOfParts>
    <vt:vector size="57" baseType="lpstr">
      <vt:lpstr>Arial</vt:lpstr>
      <vt:lpstr>Calibri</vt:lpstr>
      <vt:lpstr>Roboto</vt:lpstr>
      <vt:lpstr>Times New Roman</vt:lpstr>
      <vt:lpstr>Motiv Office</vt:lpstr>
      <vt:lpstr>Stav a vývoj epidemie COVID-19  v dostupných datech</vt:lpstr>
      <vt:lpstr>Prezentace aplikace PowerPoint</vt:lpstr>
      <vt:lpstr>Úvod – zdroje dat a koncepce analýz </vt:lpstr>
      <vt:lpstr>Přehled přijatých opatření po 1. září a uvolňování od 18.11.</vt:lpstr>
      <vt:lpstr>Identifikovaná ohniska  ve školských zařízeních</vt:lpstr>
      <vt:lpstr>Prezentace aplikace PowerPoint</vt:lpstr>
      <vt:lpstr>Školská zařízení se zaznamenanými ohnisky (událostmi)</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Prezentace aplikace PowerPoint</vt:lpstr>
      <vt:lpstr>Školská zařízení jako ohniska COVID-19: vývoj v čase</vt:lpstr>
      <vt:lpstr>Školská zařízení jako ohniska COVID-19: vývoj v čase</vt:lpstr>
      <vt:lpstr>Identifikovaná ohniska nákazy: mateřské školy* </vt:lpstr>
      <vt:lpstr>Identifikovaná ohniska nákazy: základní školy* </vt:lpstr>
      <vt:lpstr>Identifikovaná ohniska nákazy: střední školy* </vt:lpstr>
      <vt:lpstr>Ohniska ve školách – vývoj v čase</vt:lpstr>
      <vt:lpstr>Ohniska ve školách – vývoj v čase</vt:lpstr>
      <vt:lpstr>Školská zařízení jako ohniska COVID-19</vt:lpstr>
      <vt:lpstr>Školská zařízení jako ohniska COVID-19</vt:lpstr>
      <vt:lpstr>Školská zařízení jako ohniska nákazy COVID-19</vt:lpstr>
      <vt:lpstr>Události řešené od 1. ledna 2021 – celá ČR</vt:lpstr>
      <vt:lpstr>Události od 1. ledna 2021 v krajích</vt:lpstr>
      <vt:lpstr>Nákaza COVID-19 u pedagogů a pracovníků ve školství – individuální záznamy</vt:lpstr>
      <vt:lpstr>Prezentace aplikace PowerPoint</vt:lpstr>
      <vt:lpstr>Počty nově COVID pozitivních pedagogů a pracovníků ve školství</vt:lpstr>
      <vt:lpstr>Prezentace aplikace PowerPoint</vt:lpstr>
      <vt:lpstr>COVID-19 u pedagogů a dalších pracovníků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Vakcinace pracovníků ve školství</vt:lpstr>
      <vt:lpstr>Vakcinace pracovníků ve školství</vt:lpstr>
      <vt:lpstr>COVID-19 pozitivní pedagogové a další pracovníci ve školství</vt:lpstr>
      <vt:lpstr>COVID-19 pozitivní pedagogové a další pracovníci ve školství</vt:lpstr>
      <vt:lpstr>COVID-19 pozitivní pedagogové a další pracovníci ve školství</vt:lpstr>
      <vt:lpstr>Nákaza COVID-19 u dětí – individuální záznamy</vt:lpstr>
      <vt:lpstr>Prezentace aplikace PowerPoint</vt:lpstr>
      <vt:lpstr>Harmonogram otevírání školských zařízení v krajích ČR 2021</vt:lpstr>
      <vt:lpstr>Počty COVID-19 pozitivních dětí na 100 000 v populaci v čase</vt:lpstr>
      <vt:lpstr>Počty nově diagnostikovaných osob ve věku 0-4 let</vt:lpstr>
      <vt:lpstr>Počty nově diagnostikovaných osob ve věku 5-11 let</vt:lpstr>
      <vt:lpstr>Počty nově diagnostikovaných osob ve věku 12-19 l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v a vývoj epidemie COVID-19  v dostupných datech</dc:title>
  <dc:creator>Mužík Jan RNDr. Ph.D.</dc:creator>
  <cp:lastModifiedBy>Ladislav Dušek</cp:lastModifiedBy>
  <cp:revision>187</cp:revision>
  <dcterms:created xsi:type="dcterms:W3CDTF">2021-03-08T20:37:39Z</dcterms:created>
  <dcterms:modified xsi:type="dcterms:W3CDTF">2021-06-06T18:33:46Z</dcterms:modified>
</cp:coreProperties>
</file>